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  <p:sldMasterId id="2147483660" r:id="rId2"/>
  </p:sldMasterIdLst>
  <p:notesMasterIdLst>
    <p:notesMasterId r:id="rId10"/>
  </p:notesMasterIdLst>
  <p:sldIdLst>
    <p:sldId id="256" r:id="rId3"/>
    <p:sldId id="262" r:id="rId4"/>
    <p:sldId id="258" r:id="rId5"/>
    <p:sldId id="259" r:id="rId6"/>
    <p:sldId id="260" r:id="rId7"/>
    <p:sldId id="261" r:id="rId8"/>
    <p:sldId id="263" r:id="rId9"/>
  </p:sldIdLst>
  <p:sldSz cx="12192000" cy="6858000"/>
  <p:notesSz cx="7104063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D91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1" d="100"/>
          <a:sy n="71" d="100"/>
        </p:scale>
        <p:origin x="61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1F3E5FA-1572-41CA-A59B-FB41A7534E3F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57B489A-4247-484F-8823-D81AE425F87D}">
      <dgm:prSet phldrT="[Text]" custT="1"/>
      <dgm:spPr>
        <a:solidFill>
          <a:srgbClr val="ED9131"/>
        </a:solidFill>
        <a:ln>
          <a:solidFill>
            <a:srgbClr val="ED9131"/>
          </a:solidFill>
        </a:ln>
      </dgm:spPr>
      <dgm:t>
        <a:bodyPr/>
        <a:lstStyle/>
        <a:p>
          <a:r>
            <a:rPr lang="en-GB" sz="1400" i="1" dirty="0" smtClean="0"/>
            <a:t>What is the most essential resource needed to assist this weak link? (Ranked)</a:t>
          </a:r>
          <a:endParaRPr lang="en-US" sz="1400" dirty="0"/>
        </a:p>
      </dgm:t>
    </dgm:pt>
    <dgm:pt modelId="{A3DD0EDC-7EF5-4BAB-9513-9A18BAE34D1E}" type="parTrans" cxnId="{48A79E18-8ED6-43C5-ADD9-E42F3FC7F6D8}">
      <dgm:prSet/>
      <dgm:spPr/>
      <dgm:t>
        <a:bodyPr/>
        <a:lstStyle/>
        <a:p>
          <a:endParaRPr lang="en-US"/>
        </a:p>
      </dgm:t>
    </dgm:pt>
    <dgm:pt modelId="{064E0CF7-8C40-40DC-B864-D89450C5F9F1}" type="sibTrans" cxnId="{48A79E18-8ED6-43C5-ADD9-E42F3FC7F6D8}">
      <dgm:prSet/>
      <dgm:spPr/>
      <dgm:t>
        <a:bodyPr/>
        <a:lstStyle/>
        <a:p>
          <a:endParaRPr lang="en-US"/>
        </a:p>
      </dgm:t>
    </dgm:pt>
    <dgm:pt modelId="{F416B8E0-CA46-4324-A9D4-8CB2D554D100}">
      <dgm:prSet phldrT="[Text]"/>
      <dgm:spPr>
        <a:noFill/>
        <a:ln>
          <a:solidFill>
            <a:srgbClr val="ED9131">
              <a:alpha val="90000"/>
            </a:srgbClr>
          </a:solidFill>
        </a:ln>
      </dgm:spPr>
      <dgm:t>
        <a:bodyPr/>
        <a:lstStyle/>
        <a:p>
          <a:r>
            <a:rPr lang="en-US" b="1" dirty="0" smtClean="0"/>
            <a:t>Improved institutional support to </a:t>
          </a:r>
          <a:r>
            <a:rPr lang="en-US" b="1" dirty="0" err="1" smtClean="0"/>
            <a:t>utilise</a:t>
          </a:r>
          <a:r>
            <a:rPr lang="en-US" b="1" dirty="0" smtClean="0"/>
            <a:t> information</a:t>
          </a:r>
          <a:endParaRPr lang="en-US" dirty="0"/>
        </a:p>
      </dgm:t>
    </dgm:pt>
    <dgm:pt modelId="{0A34F326-D12F-49D1-89C2-48F8FBC99F88}" type="parTrans" cxnId="{190EA969-7153-4C05-923D-47A3DD9BCF75}">
      <dgm:prSet/>
      <dgm:spPr/>
      <dgm:t>
        <a:bodyPr/>
        <a:lstStyle/>
        <a:p>
          <a:endParaRPr lang="en-US"/>
        </a:p>
      </dgm:t>
    </dgm:pt>
    <dgm:pt modelId="{58EEED28-9ACE-41A2-BF63-6C9753AAF744}" type="sibTrans" cxnId="{190EA969-7153-4C05-923D-47A3DD9BCF75}">
      <dgm:prSet/>
      <dgm:spPr/>
      <dgm:t>
        <a:bodyPr/>
        <a:lstStyle/>
        <a:p>
          <a:endParaRPr lang="en-US"/>
        </a:p>
      </dgm:t>
    </dgm:pt>
    <dgm:pt modelId="{756EC7AF-7918-4602-B93E-B714AA8BF538}">
      <dgm:prSet custT="1"/>
      <dgm:spPr>
        <a:solidFill>
          <a:srgbClr val="ED9131"/>
        </a:solidFill>
        <a:ln>
          <a:solidFill>
            <a:srgbClr val="ED9131"/>
          </a:solidFill>
        </a:ln>
      </dgm:spPr>
      <dgm:t>
        <a:bodyPr/>
        <a:lstStyle/>
        <a:p>
          <a:r>
            <a:rPr lang="en-US" sz="1400" i="1" dirty="0" smtClean="0"/>
            <a:t>What is the likely weak link in communicating disaster risk?</a:t>
          </a:r>
          <a:endParaRPr lang="en-US" sz="1400" dirty="0" smtClean="0"/>
        </a:p>
      </dgm:t>
    </dgm:pt>
    <dgm:pt modelId="{1A7ECC40-A25F-4EF4-BD07-28DEA3EFF7B9}" type="parTrans" cxnId="{E82EB637-6C8D-4548-B5B0-DC51C6BA6BC4}">
      <dgm:prSet/>
      <dgm:spPr/>
      <dgm:t>
        <a:bodyPr/>
        <a:lstStyle/>
        <a:p>
          <a:endParaRPr lang="en-US"/>
        </a:p>
      </dgm:t>
    </dgm:pt>
    <dgm:pt modelId="{A8E55D2A-0F10-4A78-85DB-F64CF60A0DA6}" type="sibTrans" cxnId="{E82EB637-6C8D-4548-B5B0-DC51C6BA6BC4}">
      <dgm:prSet/>
      <dgm:spPr/>
      <dgm:t>
        <a:bodyPr/>
        <a:lstStyle/>
        <a:p>
          <a:endParaRPr lang="en-US"/>
        </a:p>
      </dgm:t>
    </dgm:pt>
    <dgm:pt modelId="{7BD23826-67A9-40B5-9D18-5A710BBD9448}">
      <dgm:prSet custT="1"/>
      <dgm:spPr>
        <a:noFill/>
        <a:ln>
          <a:solidFill>
            <a:srgbClr val="ED9131">
              <a:alpha val="90000"/>
            </a:srgbClr>
          </a:solidFill>
        </a:ln>
      </dgm:spPr>
      <dgm:t>
        <a:bodyPr/>
        <a:lstStyle/>
        <a:p>
          <a:r>
            <a:rPr lang="en-US" sz="1200" dirty="0" smtClean="0"/>
            <a:t>Limited general preparation for disasters by local public (i.e. threat doesn't happen often, or won't affect them). Note: about 30% of advisories highlight storms which do not make approach or landfall</a:t>
          </a:r>
          <a:endParaRPr lang="en-US" sz="1200" dirty="0"/>
        </a:p>
      </dgm:t>
    </dgm:pt>
    <dgm:pt modelId="{DAF68F81-2FAF-461C-9F46-D13F9B8FFC16}" type="parTrans" cxnId="{03E88623-A273-400D-A1FD-8544D1FF4E0A}">
      <dgm:prSet/>
      <dgm:spPr/>
      <dgm:t>
        <a:bodyPr/>
        <a:lstStyle/>
        <a:p>
          <a:endParaRPr lang="en-US"/>
        </a:p>
      </dgm:t>
    </dgm:pt>
    <dgm:pt modelId="{116751C0-0C1B-4618-93F4-6230E3AD5848}" type="sibTrans" cxnId="{03E88623-A273-400D-A1FD-8544D1FF4E0A}">
      <dgm:prSet/>
      <dgm:spPr/>
      <dgm:t>
        <a:bodyPr/>
        <a:lstStyle/>
        <a:p>
          <a:endParaRPr lang="en-US"/>
        </a:p>
      </dgm:t>
    </dgm:pt>
    <dgm:pt modelId="{2AEE052C-3A96-45E0-AC74-5AD8B910AD1F}">
      <dgm:prSet custT="1"/>
      <dgm:spPr>
        <a:noFill/>
        <a:ln>
          <a:solidFill>
            <a:srgbClr val="ED9131">
              <a:alpha val="90000"/>
            </a:srgbClr>
          </a:solidFill>
        </a:ln>
      </dgm:spPr>
      <dgm:t>
        <a:bodyPr/>
        <a:lstStyle/>
        <a:p>
          <a:r>
            <a:rPr lang="en-US" sz="1200" dirty="0" smtClean="0"/>
            <a:t>Challenges in Agency capacity to acknowledge and share initial information about disaster</a:t>
          </a:r>
          <a:endParaRPr lang="en-US" sz="1200" dirty="0"/>
        </a:p>
      </dgm:t>
    </dgm:pt>
    <dgm:pt modelId="{D579842D-95A8-4B87-A130-79E277C3DBCC}" type="parTrans" cxnId="{7639AE32-E2D0-4600-B445-0A648E99F99D}">
      <dgm:prSet/>
      <dgm:spPr/>
      <dgm:t>
        <a:bodyPr/>
        <a:lstStyle/>
        <a:p>
          <a:endParaRPr lang="en-US"/>
        </a:p>
      </dgm:t>
    </dgm:pt>
    <dgm:pt modelId="{BEAA369B-4662-4E45-AF80-6BBE64D22270}" type="sibTrans" cxnId="{7639AE32-E2D0-4600-B445-0A648E99F99D}">
      <dgm:prSet/>
      <dgm:spPr/>
      <dgm:t>
        <a:bodyPr/>
        <a:lstStyle/>
        <a:p>
          <a:endParaRPr lang="en-US"/>
        </a:p>
      </dgm:t>
    </dgm:pt>
    <dgm:pt modelId="{1CD9EFFA-60DD-472C-B295-CE949978E903}">
      <dgm:prSet custT="1"/>
      <dgm:spPr>
        <a:noFill/>
        <a:ln>
          <a:solidFill>
            <a:srgbClr val="ED9131">
              <a:alpha val="90000"/>
            </a:srgbClr>
          </a:solidFill>
        </a:ln>
      </dgm:spPr>
      <dgm:t>
        <a:bodyPr/>
        <a:lstStyle/>
        <a:p>
          <a:r>
            <a:rPr lang="en-US" sz="1200" dirty="0" smtClean="0"/>
            <a:t>Challenges in Agency capacity to follow-up information and respond to disaster</a:t>
          </a:r>
          <a:endParaRPr lang="en-US" sz="1200" dirty="0"/>
        </a:p>
      </dgm:t>
    </dgm:pt>
    <dgm:pt modelId="{1AE3680E-C355-4FBF-B854-DAC8415B0329}" type="parTrans" cxnId="{53572EB5-EBE3-477E-B590-4FE6290CA1A1}">
      <dgm:prSet/>
      <dgm:spPr/>
      <dgm:t>
        <a:bodyPr/>
        <a:lstStyle/>
        <a:p>
          <a:endParaRPr lang="en-US"/>
        </a:p>
      </dgm:t>
    </dgm:pt>
    <dgm:pt modelId="{4665A548-383D-49D2-9150-FA772CBB1141}" type="sibTrans" cxnId="{53572EB5-EBE3-477E-B590-4FE6290CA1A1}">
      <dgm:prSet/>
      <dgm:spPr/>
      <dgm:t>
        <a:bodyPr/>
        <a:lstStyle/>
        <a:p>
          <a:endParaRPr lang="en-US"/>
        </a:p>
      </dgm:t>
    </dgm:pt>
    <dgm:pt modelId="{3CE9F725-A47A-4175-8D06-C4A1ADA755E9}">
      <dgm:prSet custT="1"/>
      <dgm:spPr>
        <a:noFill/>
        <a:ln>
          <a:solidFill>
            <a:srgbClr val="ED9131">
              <a:alpha val="90000"/>
            </a:srgbClr>
          </a:solidFill>
        </a:ln>
      </dgm:spPr>
      <dgm:t>
        <a:bodyPr/>
        <a:lstStyle/>
        <a:p>
          <a:r>
            <a:rPr lang="en-US" sz="1200" dirty="0" smtClean="0"/>
            <a:t>Limited awareness of impending threat by local public (i.e. not following news, away from info sources)</a:t>
          </a:r>
          <a:endParaRPr lang="en-US" sz="1200" dirty="0"/>
        </a:p>
      </dgm:t>
    </dgm:pt>
    <dgm:pt modelId="{AEFD61E8-FDBE-4712-923E-1D007C947FB9}" type="parTrans" cxnId="{54786FD9-E652-408C-A793-C2871C9267A8}">
      <dgm:prSet/>
      <dgm:spPr/>
      <dgm:t>
        <a:bodyPr/>
        <a:lstStyle/>
        <a:p>
          <a:endParaRPr lang="en-US"/>
        </a:p>
      </dgm:t>
    </dgm:pt>
    <dgm:pt modelId="{68416D85-B6F8-441E-AEB9-61C36B9910E8}" type="sibTrans" cxnId="{54786FD9-E652-408C-A793-C2871C9267A8}">
      <dgm:prSet/>
      <dgm:spPr/>
      <dgm:t>
        <a:bodyPr/>
        <a:lstStyle/>
        <a:p>
          <a:endParaRPr lang="en-US"/>
        </a:p>
      </dgm:t>
    </dgm:pt>
    <dgm:pt modelId="{A10F60F6-A65D-44A3-A455-836D73099477}">
      <dgm:prSet/>
      <dgm:spPr>
        <a:noFill/>
        <a:ln>
          <a:solidFill>
            <a:srgbClr val="ED9131">
              <a:alpha val="90000"/>
            </a:srgbClr>
          </a:solidFill>
        </a:ln>
      </dgm:spPr>
      <dgm:t>
        <a:bodyPr/>
        <a:lstStyle/>
        <a:p>
          <a:r>
            <a:rPr lang="en-US" b="1" dirty="0" smtClean="0"/>
            <a:t>Communication, e.g. need better strategy or local coordination</a:t>
          </a:r>
        </a:p>
      </dgm:t>
    </dgm:pt>
    <dgm:pt modelId="{CFD4663A-2C7B-455E-8C41-2A9ABD924C53}" type="parTrans" cxnId="{7665D590-E4B8-4032-8DD5-8FCCD0799FB0}">
      <dgm:prSet/>
      <dgm:spPr/>
      <dgm:t>
        <a:bodyPr/>
        <a:lstStyle/>
        <a:p>
          <a:endParaRPr lang="en-US"/>
        </a:p>
      </dgm:t>
    </dgm:pt>
    <dgm:pt modelId="{6B3C5D09-50D9-44D9-A290-8ED11E4439A6}" type="sibTrans" cxnId="{7665D590-E4B8-4032-8DD5-8FCCD0799FB0}">
      <dgm:prSet/>
      <dgm:spPr/>
      <dgm:t>
        <a:bodyPr/>
        <a:lstStyle/>
        <a:p>
          <a:endParaRPr lang="en-US"/>
        </a:p>
      </dgm:t>
    </dgm:pt>
    <dgm:pt modelId="{B6C6B54C-EAAD-4918-9873-C2D8ED86F11F}">
      <dgm:prSet/>
      <dgm:spPr>
        <a:noFill/>
        <a:ln>
          <a:solidFill>
            <a:srgbClr val="ED9131">
              <a:alpha val="90000"/>
            </a:srgbClr>
          </a:solidFill>
        </a:ln>
      </dgm:spPr>
      <dgm:t>
        <a:bodyPr/>
        <a:lstStyle/>
        <a:p>
          <a:r>
            <a:rPr lang="en-US" dirty="0" smtClean="0"/>
            <a:t>Networking with other agencies, local and/or regional</a:t>
          </a:r>
        </a:p>
      </dgm:t>
    </dgm:pt>
    <dgm:pt modelId="{7E264044-5832-4B5C-B96B-749099672817}" type="parTrans" cxnId="{0BF6BCAF-27AE-4C4A-AE7C-E281B18705EE}">
      <dgm:prSet/>
      <dgm:spPr/>
      <dgm:t>
        <a:bodyPr/>
        <a:lstStyle/>
        <a:p>
          <a:endParaRPr lang="en-US"/>
        </a:p>
      </dgm:t>
    </dgm:pt>
    <dgm:pt modelId="{FE4457BB-1594-4344-936C-88148C640F8E}" type="sibTrans" cxnId="{0BF6BCAF-27AE-4C4A-AE7C-E281B18705EE}">
      <dgm:prSet/>
      <dgm:spPr/>
      <dgm:t>
        <a:bodyPr/>
        <a:lstStyle/>
        <a:p>
          <a:endParaRPr lang="en-US"/>
        </a:p>
      </dgm:t>
    </dgm:pt>
    <dgm:pt modelId="{E1D7E379-3CA9-4939-8332-055509F8177C}">
      <dgm:prSet/>
      <dgm:spPr>
        <a:noFill/>
        <a:ln>
          <a:solidFill>
            <a:srgbClr val="ED9131">
              <a:alpha val="90000"/>
            </a:srgbClr>
          </a:solidFill>
        </a:ln>
      </dgm:spPr>
      <dgm:t>
        <a:bodyPr/>
        <a:lstStyle/>
        <a:p>
          <a:r>
            <a:rPr lang="en-US" dirty="0" smtClean="0"/>
            <a:t>Technical skills of responsible agency</a:t>
          </a:r>
        </a:p>
      </dgm:t>
    </dgm:pt>
    <dgm:pt modelId="{9757BDA3-9B53-4389-9D77-545AD84D2AAB}" type="parTrans" cxnId="{B64B3060-2AD7-434F-B49D-085684BFE2A2}">
      <dgm:prSet/>
      <dgm:spPr/>
      <dgm:t>
        <a:bodyPr/>
        <a:lstStyle/>
        <a:p>
          <a:endParaRPr lang="en-US"/>
        </a:p>
      </dgm:t>
    </dgm:pt>
    <dgm:pt modelId="{C3412E92-0863-482F-BDEF-A71818C671DF}" type="sibTrans" cxnId="{B64B3060-2AD7-434F-B49D-085684BFE2A2}">
      <dgm:prSet/>
      <dgm:spPr/>
      <dgm:t>
        <a:bodyPr/>
        <a:lstStyle/>
        <a:p>
          <a:endParaRPr lang="en-US"/>
        </a:p>
      </dgm:t>
    </dgm:pt>
    <dgm:pt modelId="{CFD79291-6EEB-4707-AAFA-E8615D3006BF}">
      <dgm:prSet/>
      <dgm:spPr>
        <a:noFill/>
        <a:ln>
          <a:solidFill>
            <a:srgbClr val="ED9131">
              <a:alpha val="90000"/>
            </a:srgbClr>
          </a:solidFill>
        </a:ln>
      </dgm:spPr>
      <dgm:t>
        <a:bodyPr/>
        <a:lstStyle/>
        <a:p>
          <a:r>
            <a:rPr lang="en-US" dirty="0" smtClean="0"/>
            <a:t>Financial, e.g. need access to or increase in funds, either generally or within responsible agency</a:t>
          </a:r>
        </a:p>
      </dgm:t>
    </dgm:pt>
    <dgm:pt modelId="{2E88AF47-BF66-4F46-AE3F-A332454BC61E}" type="parTrans" cxnId="{056E7AD4-5AA0-4E4F-81B1-C0664C1C5C5A}">
      <dgm:prSet/>
      <dgm:spPr/>
      <dgm:t>
        <a:bodyPr/>
        <a:lstStyle/>
        <a:p>
          <a:endParaRPr lang="en-US"/>
        </a:p>
      </dgm:t>
    </dgm:pt>
    <dgm:pt modelId="{2F9C23CA-1E8A-43F9-9A68-DD2F9BABE4C3}" type="sibTrans" cxnId="{056E7AD4-5AA0-4E4F-81B1-C0664C1C5C5A}">
      <dgm:prSet/>
      <dgm:spPr/>
      <dgm:t>
        <a:bodyPr/>
        <a:lstStyle/>
        <a:p>
          <a:endParaRPr lang="en-US"/>
        </a:p>
      </dgm:t>
    </dgm:pt>
    <dgm:pt modelId="{F09E98F9-8328-4E3B-998C-1D70096DB8EB}">
      <dgm:prSet/>
      <dgm:spPr>
        <a:noFill/>
        <a:ln>
          <a:solidFill>
            <a:srgbClr val="ED9131">
              <a:alpha val="90000"/>
            </a:srgbClr>
          </a:solidFill>
        </a:ln>
      </dgm:spPr>
      <dgm:t>
        <a:bodyPr/>
        <a:lstStyle/>
        <a:p>
          <a:r>
            <a:rPr lang="en-US" dirty="0" smtClean="0"/>
            <a:t>Human, e.g. need more capacity within responsible agency</a:t>
          </a:r>
        </a:p>
      </dgm:t>
    </dgm:pt>
    <dgm:pt modelId="{06F3CEF9-2355-4CB6-9840-3C6FA7FAD143}" type="parTrans" cxnId="{5C1CBC3F-EB3A-40C4-B552-B5889C28016F}">
      <dgm:prSet/>
      <dgm:spPr/>
      <dgm:t>
        <a:bodyPr/>
        <a:lstStyle/>
        <a:p>
          <a:endParaRPr lang="en-US"/>
        </a:p>
      </dgm:t>
    </dgm:pt>
    <dgm:pt modelId="{3C951EC2-E6A9-40F8-8B5D-16C2D8BF0CAF}" type="sibTrans" cxnId="{5C1CBC3F-EB3A-40C4-B552-B5889C28016F}">
      <dgm:prSet/>
      <dgm:spPr/>
      <dgm:t>
        <a:bodyPr/>
        <a:lstStyle/>
        <a:p>
          <a:endParaRPr lang="en-US"/>
        </a:p>
      </dgm:t>
    </dgm:pt>
    <dgm:pt modelId="{AF8503DF-5249-4B5B-B2BF-6AC43488E4D8}">
      <dgm:prSet/>
      <dgm:spPr>
        <a:noFill/>
        <a:ln>
          <a:solidFill>
            <a:srgbClr val="ED9131">
              <a:alpha val="90000"/>
            </a:srgbClr>
          </a:solidFill>
        </a:ln>
      </dgm:spPr>
      <dgm:t>
        <a:bodyPr/>
        <a:lstStyle/>
        <a:p>
          <a:r>
            <a:rPr lang="en-US" dirty="0" smtClean="0"/>
            <a:t>Technical Assistance, i.e. unsure of how to fit this information into existing decision-making strategies</a:t>
          </a:r>
        </a:p>
      </dgm:t>
    </dgm:pt>
    <dgm:pt modelId="{3D5E28CB-F7E1-4D9D-8AFC-3A58A8E8B65F}" type="parTrans" cxnId="{04269A70-54A6-4098-ADC0-511A83B08FC7}">
      <dgm:prSet/>
      <dgm:spPr/>
      <dgm:t>
        <a:bodyPr/>
        <a:lstStyle/>
        <a:p>
          <a:endParaRPr lang="en-US"/>
        </a:p>
      </dgm:t>
    </dgm:pt>
    <dgm:pt modelId="{62456BF1-067D-4451-892E-673E788AC486}" type="sibTrans" cxnId="{04269A70-54A6-4098-ADC0-511A83B08FC7}">
      <dgm:prSet/>
      <dgm:spPr/>
      <dgm:t>
        <a:bodyPr/>
        <a:lstStyle/>
        <a:p>
          <a:endParaRPr lang="en-US"/>
        </a:p>
      </dgm:t>
    </dgm:pt>
    <dgm:pt modelId="{EE6454B5-89A4-4B57-8655-A31D1B9BD2C7}">
      <dgm:prSet/>
      <dgm:spPr>
        <a:noFill/>
        <a:ln>
          <a:solidFill>
            <a:srgbClr val="ED9131">
              <a:alpha val="90000"/>
            </a:srgbClr>
          </a:solidFill>
        </a:ln>
      </dgm:spPr>
      <dgm:t>
        <a:bodyPr/>
        <a:lstStyle/>
        <a:p>
          <a:r>
            <a:rPr lang="en-US" dirty="0" smtClean="0"/>
            <a:t>More data, e.g. climate information, number of people affected, most vulnerable locations</a:t>
          </a:r>
        </a:p>
      </dgm:t>
    </dgm:pt>
    <dgm:pt modelId="{B85023E1-68F6-4A8C-9093-F8B6FB34AE07}" type="parTrans" cxnId="{D3318826-0C84-4153-A60B-B846DCEC8581}">
      <dgm:prSet/>
      <dgm:spPr/>
      <dgm:t>
        <a:bodyPr/>
        <a:lstStyle/>
        <a:p>
          <a:endParaRPr lang="en-US"/>
        </a:p>
      </dgm:t>
    </dgm:pt>
    <dgm:pt modelId="{99FF26B2-6176-4B89-9FF7-B536834920F0}" type="sibTrans" cxnId="{D3318826-0C84-4153-A60B-B846DCEC8581}">
      <dgm:prSet/>
      <dgm:spPr/>
      <dgm:t>
        <a:bodyPr/>
        <a:lstStyle/>
        <a:p>
          <a:endParaRPr lang="en-US"/>
        </a:p>
      </dgm:t>
    </dgm:pt>
    <dgm:pt modelId="{FE3EE1A9-36EB-45D7-96F8-ADD35E9BAF85}">
      <dgm:prSet/>
      <dgm:spPr>
        <a:noFill/>
        <a:ln>
          <a:solidFill>
            <a:srgbClr val="ED9131">
              <a:alpha val="90000"/>
            </a:srgbClr>
          </a:solidFill>
        </a:ln>
      </dgm:spPr>
      <dgm:t>
        <a:bodyPr/>
        <a:lstStyle/>
        <a:p>
          <a:r>
            <a:rPr lang="en-US" dirty="0" smtClean="0"/>
            <a:t>Information about disaster management/best practices/research about disasters within the region</a:t>
          </a:r>
          <a:endParaRPr lang="en-US" dirty="0"/>
        </a:p>
      </dgm:t>
    </dgm:pt>
    <dgm:pt modelId="{6653039A-57BC-4527-B8C4-779D689331AE}" type="parTrans" cxnId="{AB58DDF6-BA23-4D92-A1AB-E859195D91A1}">
      <dgm:prSet/>
      <dgm:spPr/>
      <dgm:t>
        <a:bodyPr/>
        <a:lstStyle/>
        <a:p>
          <a:endParaRPr lang="en-US"/>
        </a:p>
      </dgm:t>
    </dgm:pt>
    <dgm:pt modelId="{06AB8FE4-7B5A-42C0-A06F-A81D794AFF08}" type="sibTrans" cxnId="{AB58DDF6-BA23-4D92-A1AB-E859195D91A1}">
      <dgm:prSet/>
      <dgm:spPr/>
      <dgm:t>
        <a:bodyPr/>
        <a:lstStyle/>
        <a:p>
          <a:endParaRPr lang="en-US"/>
        </a:p>
      </dgm:t>
    </dgm:pt>
    <dgm:pt modelId="{5F9D8F35-8423-41CE-B678-1FFCEB42BB5F}">
      <dgm:prSet phldrT="[Text]" custT="1"/>
      <dgm:spPr>
        <a:solidFill>
          <a:srgbClr val="ED9131"/>
        </a:solidFill>
        <a:ln>
          <a:solidFill>
            <a:srgbClr val="ED9131"/>
          </a:solidFill>
        </a:ln>
      </dgm:spPr>
      <dgm:t>
        <a:bodyPr/>
        <a:lstStyle/>
        <a:p>
          <a:r>
            <a:rPr lang="en-US" sz="1400" i="1" dirty="0" smtClean="0"/>
            <a:t>Why are operations/response different on weekends?</a:t>
          </a:r>
          <a:endParaRPr lang="en-US" sz="1400" dirty="0"/>
        </a:p>
      </dgm:t>
    </dgm:pt>
    <dgm:pt modelId="{4C63A3CD-DDC2-4A41-9388-4882DD94F082}" type="parTrans" cxnId="{165591E9-2DBE-46F1-8102-84CC9FF8E53D}">
      <dgm:prSet/>
      <dgm:spPr/>
      <dgm:t>
        <a:bodyPr/>
        <a:lstStyle/>
        <a:p>
          <a:endParaRPr lang="en-US"/>
        </a:p>
      </dgm:t>
    </dgm:pt>
    <dgm:pt modelId="{CB2A429C-9EFF-49F2-AF03-4BF8009FEF09}" type="sibTrans" cxnId="{165591E9-2DBE-46F1-8102-84CC9FF8E53D}">
      <dgm:prSet/>
      <dgm:spPr/>
      <dgm:t>
        <a:bodyPr/>
        <a:lstStyle/>
        <a:p>
          <a:endParaRPr lang="en-US"/>
        </a:p>
      </dgm:t>
    </dgm:pt>
    <dgm:pt modelId="{BF077E4C-55DD-43E0-B642-9AECEE18FA68}">
      <dgm:prSet phldrT="[Text]"/>
      <dgm:spPr>
        <a:noFill/>
        <a:ln>
          <a:solidFill>
            <a:srgbClr val="ED9131">
              <a:alpha val="90000"/>
            </a:srgbClr>
          </a:solidFill>
        </a:ln>
      </dgm:spPr>
      <dgm:t>
        <a:bodyPr/>
        <a:lstStyle/>
        <a:p>
          <a:r>
            <a:rPr lang="en-US" dirty="0" smtClean="0"/>
            <a:t>Some agencies closed, or at limited capacity, offering slower response times</a:t>
          </a:r>
          <a:endParaRPr lang="en-US" dirty="0"/>
        </a:p>
      </dgm:t>
    </dgm:pt>
    <dgm:pt modelId="{0117FC3D-B709-4739-B5D8-2F0BB5B88BC8}" type="parTrans" cxnId="{62ACCEFC-5468-4C17-8238-DDE34A0F5AC8}">
      <dgm:prSet/>
      <dgm:spPr/>
      <dgm:t>
        <a:bodyPr/>
        <a:lstStyle/>
        <a:p>
          <a:endParaRPr lang="en-US"/>
        </a:p>
      </dgm:t>
    </dgm:pt>
    <dgm:pt modelId="{90F4C8C5-A1B7-4F2E-8D42-BDB880644D39}" type="sibTrans" cxnId="{62ACCEFC-5468-4C17-8238-DDE34A0F5AC8}">
      <dgm:prSet/>
      <dgm:spPr/>
      <dgm:t>
        <a:bodyPr/>
        <a:lstStyle/>
        <a:p>
          <a:endParaRPr lang="en-US"/>
        </a:p>
      </dgm:t>
    </dgm:pt>
    <dgm:pt modelId="{7180C61D-DF18-475F-A859-A90BE6CB3538}">
      <dgm:prSet/>
      <dgm:spPr>
        <a:noFill/>
        <a:ln>
          <a:solidFill>
            <a:srgbClr val="ED9131">
              <a:alpha val="90000"/>
            </a:srgbClr>
          </a:solidFill>
        </a:ln>
      </dgm:spPr>
      <dgm:t>
        <a:bodyPr/>
        <a:lstStyle/>
        <a:p>
          <a:r>
            <a:rPr lang="en-US" dirty="0" smtClean="0"/>
            <a:t>Communication to/within local public may be limited (cultural, recreational norms)</a:t>
          </a:r>
        </a:p>
      </dgm:t>
    </dgm:pt>
    <dgm:pt modelId="{A81DA10E-B073-43B1-BA8D-24A79C80A4C5}" type="parTrans" cxnId="{0E3BD644-788B-4C09-8BAB-4DD11EDAAD74}">
      <dgm:prSet/>
      <dgm:spPr/>
      <dgm:t>
        <a:bodyPr/>
        <a:lstStyle/>
        <a:p>
          <a:endParaRPr lang="en-US"/>
        </a:p>
      </dgm:t>
    </dgm:pt>
    <dgm:pt modelId="{AC1836CF-C5A2-4BE9-9314-0CEB5B92F1DE}" type="sibTrans" cxnId="{0E3BD644-788B-4C09-8BAB-4DD11EDAAD74}">
      <dgm:prSet/>
      <dgm:spPr/>
      <dgm:t>
        <a:bodyPr/>
        <a:lstStyle/>
        <a:p>
          <a:endParaRPr lang="en-US"/>
        </a:p>
      </dgm:t>
    </dgm:pt>
    <dgm:pt modelId="{6FB9FEF7-6674-4FCE-953D-8A80E33E34DE}">
      <dgm:prSet/>
      <dgm:spPr>
        <a:noFill/>
        <a:ln>
          <a:solidFill>
            <a:srgbClr val="ED9131">
              <a:alpha val="90000"/>
            </a:srgbClr>
          </a:solidFill>
        </a:ln>
      </dgm:spPr>
      <dgm:t>
        <a:bodyPr/>
        <a:lstStyle/>
        <a:p>
          <a:r>
            <a:rPr lang="en-US" dirty="0" smtClean="0"/>
            <a:t>Certain sectors do not maintain 24-hour shift system</a:t>
          </a:r>
        </a:p>
      </dgm:t>
    </dgm:pt>
    <dgm:pt modelId="{8ECEEC01-AC4C-4043-AD7D-1C0A76619AD8}" type="parTrans" cxnId="{B5CA1DF1-718E-4987-BC2D-B6D7BCDB41EF}">
      <dgm:prSet/>
      <dgm:spPr/>
      <dgm:t>
        <a:bodyPr/>
        <a:lstStyle/>
        <a:p>
          <a:endParaRPr lang="en-US"/>
        </a:p>
      </dgm:t>
    </dgm:pt>
    <dgm:pt modelId="{8C5E0C38-CB4D-4E15-B8B3-2220B5989958}" type="sibTrans" cxnId="{B5CA1DF1-718E-4987-BC2D-B6D7BCDB41EF}">
      <dgm:prSet/>
      <dgm:spPr/>
      <dgm:t>
        <a:bodyPr/>
        <a:lstStyle/>
        <a:p>
          <a:endParaRPr lang="en-US"/>
        </a:p>
      </dgm:t>
    </dgm:pt>
    <dgm:pt modelId="{6E41A252-81D3-414D-B507-C3C3491C3841}">
      <dgm:prSet/>
      <dgm:spPr>
        <a:noFill/>
        <a:ln>
          <a:solidFill>
            <a:srgbClr val="ED9131">
              <a:alpha val="90000"/>
            </a:srgbClr>
          </a:solidFill>
        </a:ln>
      </dgm:spPr>
      <dgm:t>
        <a:bodyPr/>
        <a:lstStyle/>
        <a:p>
          <a:r>
            <a:rPr lang="en-US" dirty="0" smtClean="0"/>
            <a:t>Challenges of </a:t>
          </a:r>
          <a:r>
            <a:rPr lang="en-US" dirty="0" err="1" smtClean="0"/>
            <a:t>mobilising</a:t>
          </a:r>
          <a:r>
            <a:rPr lang="en-US" dirty="0" smtClean="0"/>
            <a:t> volunteers</a:t>
          </a:r>
        </a:p>
      </dgm:t>
    </dgm:pt>
    <dgm:pt modelId="{B62E8EAA-AC10-40B5-A45C-D1A0B4662D9B}" type="parTrans" cxnId="{389192D7-7B92-4054-AEAB-E0D0C1B9C032}">
      <dgm:prSet/>
      <dgm:spPr/>
      <dgm:t>
        <a:bodyPr/>
        <a:lstStyle/>
        <a:p>
          <a:endParaRPr lang="en-US"/>
        </a:p>
      </dgm:t>
    </dgm:pt>
    <dgm:pt modelId="{12764988-ED36-4732-8CDC-6FE9470298BA}" type="sibTrans" cxnId="{389192D7-7B92-4054-AEAB-E0D0C1B9C032}">
      <dgm:prSet/>
      <dgm:spPr/>
      <dgm:t>
        <a:bodyPr/>
        <a:lstStyle/>
        <a:p>
          <a:endParaRPr lang="en-US"/>
        </a:p>
      </dgm:t>
    </dgm:pt>
    <dgm:pt modelId="{4BDCE9F9-D0A9-4853-9105-88B6A83FDEE5}">
      <dgm:prSet/>
      <dgm:spPr>
        <a:noFill/>
        <a:ln>
          <a:solidFill>
            <a:srgbClr val="ED9131">
              <a:alpha val="90000"/>
            </a:srgbClr>
          </a:solidFill>
        </a:ln>
      </dgm:spPr>
      <dgm:t>
        <a:bodyPr/>
        <a:lstStyle/>
        <a:p>
          <a:r>
            <a:rPr lang="en-US" dirty="0" smtClean="0"/>
            <a:t>Note: Participants who responded as such more likely from English-speaking Caribbean</a:t>
          </a:r>
        </a:p>
      </dgm:t>
    </dgm:pt>
    <dgm:pt modelId="{53DC276B-0B70-486B-807D-1935AE0F3A44}" type="parTrans" cxnId="{FCF53B6A-5C5B-491F-8E87-CE0E231C0693}">
      <dgm:prSet/>
      <dgm:spPr/>
      <dgm:t>
        <a:bodyPr/>
        <a:lstStyle/>
        <a:p>
          <a:endParaRPr lang="en-US"/>
        </a:p>
      </dgm:t>
    </dgm:pt>
    <dgm:pt modelId="{4462F6CD-6018-4B45-AE7B-C8B9A215B7AF}" type="sibTrans" cxnId="{FCF53B6A-5C5B-491F-8E87-CE0E231C0693}">
      <dgm:prSet/>
      <dgm:spPr/>
      <dgm:t>
        <a:bodyPr/>
        <a:lstStyle/>
        <a:p>
          <a:endParaRPr lang="en-US"/>
        </a:p>
      </dgm:t>
    </dgm:pt>
    <dgm:pt modelId="{A160BED8-FA85-4566-A931-FD4179DA830C}">
      <dgm:prSet custT="1"/>
      <dgm:spPr>
        <a:noFill/>
        <a:ln>
          <a:solidFill>
            <a:srgbClr val="ED9131">
              <a:alpha val="90000"/>
            </a:srgbClr>
          </a:solidFill>
        </a:ln>
      </dgm:spPr>
      <dgm:t>
        <a:bodyPr/>
        <a:lstStyle/>
        <a:p>
          <a:r>
            <a:rPr lang="en-US" sz="1200" dirty="0" smtClean="0"/>
            <a:t>Note: All ranked similarly</a:t>
          </a:r>
          <a:endParaRPr lang="en-US" sz="1200" dirty="0"/>
        </a:p>
      </dgm:t>
    </dgm:pt>
    <dgm:pt modelId="{A473CF8A-6BD2-43B5-BB50-1073E2F7F25C}" type="parTrans" cxnId="{F89FFA90-C8BC-4A38-9A24-33652EC9F8B2}">
      <dgm:prSet/>
      <dgm:spPr/>
      <dgm:t>
        <a:bodyPr/>
        <a:lstStyle/>
        <a:p>
          <a:endParaRPr lang="en-US"/>
        </a:p>
      </dgm:t>
    </dgm:pt>
    <dgm:pt modelId="{6BE233A6-5612-493C-8429-773F01BF51FF}" type="sibTrans" cxnId="{F89FFA90-C8BC-4A38-9A24-33652EC9F8B2}">
      <dgm:prSet/>
      <dgm:spPr/>
      <dgm:t>
        <a:bodyPr/>
        <a:lstStyle/>
        <a:p>
          <a:endParaRPr lang="en-US"/>
        </a:p>
      </dgm:t>
    </dgm:pt>
    <dgm:pt modelId="{4AF835AD-B2A8-4CB6-9B53-14963E67F09B}" type="pres">
      <dgm:prSet presAssocID="{01F3E5FA-1572-41CA-A59B-FB41A7534E3F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72EFABC-3306-4977-86F5-9A8BF7A1A817}" type="pres">
      <dgm:prSet presAssocID="{756EC7AF-7918-4602-B93E-B714AA8BF538}" presName="composite" presStyleCnt="0"/>
      <dgm:spPr/>
    </dgm:pt>
    <dgm:pt modelId="{BDD6D28D-12E9-41B3-AEA6-43C8BEE65CD6}" type="pres">
      <dgm:prSet presAssocID="{756EC7AF-7918-4602-B93E-B714AA8BF538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C42C9F4-F708-4A58-B2E3-8B635B9C14AC}" type="pres">
      <dgm:prSet presAssocID="{756EC7AF-7918-4602-B93E-B714AA8BF538}" presName="desTx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2367B09-2A90-4860-9B05-EDCD6B1F4AF8}" type="pres">
      <dgm:prSet presAssocID="{A8E55D2A-0F10-4A78-85DB-F64CF60A0DA6}" presName="space" presStyleCnt="0"/>
      <dgm:spPr/>
    </dgm:pt>
    <dgm:pt modelId="{4EA1FB2A-F566-43D1-86C4-0A03EAC0A593}" type="pres">
      <dgm:prSet presAssocID="{B57B489A-4247-484F-8823-D81AE425F87D}" presName="composite" presStyleCnt="0"/>
      <dgm:spPr/>
    </dgm:pt>
    <dgm:pt modelId="{B30679CE-CBFF-4BB3-852E-B0126F542C70}" type="pres">
      <dgm:prSet presAssocID="{B57B489A-4247-484F-8823-D81AE425F87D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2AF515D-BB37-41BC-998B-EB546E3C5707}" type="pres">
      <dgm:prSet presAssocID="{B57B489A-4247-484F-8823-D81AE425F87D}" presName="desTx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29E47FF-FC9F-4DC1-9034-CAE13E72DB62}" type="pres">
      <dgm:prSet presAssocID="{064E0CF7-8C40-40DC-B864-D89450C5F9F1}" presName="space" presStyleCnt="0"/>
      <dgm:spPr/>
    </dgm:pt>
    <dgm:pt modelId="{6F3E15E0-8464-473F-8AC5-EA10F4241098}" type="pres">
      <dgm:prSet presAssocID="{5F9D8F35-8423-41CE-B678-1FFCEB42BB5F}" presName="composite" presStyleCnt="0"/>
      <dgm:spPr/>
    </dgm:pt>
    <dgm:pt modelId="{9AA03EB6-A894-4403-8C63-5DB51F7E5D8E}" type="pres">
      <dgm:prSet presAssocID="{5F9D8F35-8423-41CE-B678-1FFCEB42BB5F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A5FD2A8-4F6E-4BCC-B625-42BE7ED94786}" type="pres">
      <dgm:prSet presAssocID="{5F9D8F35-8423-41CE-B678-1FFCEB42BB5F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65439E2-B10D-4D3A-9DC8-F319D64A781C}" type="presOf" srcId="{E1D7E379-3CA9-4939-8332-055509F8177C}" destId="{32AF515D-BB37-41BC-998B-EB546E3C5707}" srcOrd="0" destOrd="3" presId="urn:microsoft.com/office/officeart/2005/8/layout/hList1"/>
    <dgm:cxn modelId="{B5CA1DF1-718E-4987-BC2D-B6D7BCDB41EF}" srcId="{5F9D8F35-8423-41CE-B678-1FFCEB42BB5F}" destId="{6FB9FEF7-6674-4FCE-953D-8A80E33E34DE}" srcOrd="2" destOrd="0" parTransId="{8ECEEC01-AC4C-4043-AD7D-1C0A76619AD8}" sibTransId="{8C5E0C38-CB4D-4E15-B8B3-2220B5989958}"/>
    <dgm:cxn modelId="{7639AE32-E2D0-4600-B445-0A648E99F99D}" srcId="{756EC7AF-7918-4602-B93E-B714AA8BF538}" destId="{2AEE052C-3A96-45E0-AC74-5AD8B910AD1F}" srcOrd="1" destOrd="0" parTransId="{D579842D-95A8-4B87-A130-79E277C3DBCC}" sibTransId="{BEAA369B-4662-4E45-AF80-6BBE64D22270}"/>
    <dgm:cxn modelId="{58180B19-2439-45CA-AAF8-A89686E107BC}" type="presOf" srcId="{1CD9EFFA-60DD-472C-B295-CE949978E903}" destId="{1C42C9F4-F708-4A58-B2E3-8B635B9C14AC}" srcOrd="0" destOrd="2" presId="urn:microsoft.com/office/officeart/2005/8/layout/hList1"/>
    <dgm:cxn modelId="{AB58DDF6-BA23-4D92-A1AB-E859195D91A1}" srcId="{B57B489A-4247-484F-8823-D81AE425F87D}" destId="{FE3EE1A9-36EB-45D7-96F8-ADD35E9BAF85}" srcOrd="8" destOrd="0" parTransId="{6653039A-57BC-4527-B8C4-779D689331AE}" sibTransId="{06AB8FE4-7B5A-42C0-A06F-A81D794AFF08}"/>
    <dgm:cxn modelId="{8665D46B-04E7-4A10-8AA3-290E68D053FA}" type="presOf" srcId="{F416B8E0-CA46-4324-A9D4-8CB2D554D100}" destId="{32AF515D-BB37-41BC-998B-EB546E3C5707}" srcOrd="0" destOrd="0" presId="urn:microsoft.com/office/officeart/2005/8/layout/hList1"/>
    <dgm:cxn modelId="{F2881EB8-9CB9-4121-B57E-22CA099DDF1C}" type="presOf" srcId="{BF077E4C-55DD-43E0-B642-9AECEE18FA68}" destId="{DA5FD2A8-4F6E-4BCC-B625-42BE7ED94786}" srcOrd="0" destOrd="0" presId="urn:microsoft.com/office/officeart/2005/8/layout/hList1"/>
    <dgm:cxn modelId="{A693EA7E-313D-433D-8B32-E32A87A95F88}" type="presOf" srcId="{6FB9FEF7-6674-4FCE-953D-8A80E33E34DE}" destId="{DA5FD2A8-4F6E-4BCC-B625-42BE7ED94786}" srcOrd="0" destOrd="2" presId="urn:microsoft.com/office/officeart/2005/8/layout/hList1"/>
    <dgm:cxn modelId="{53572EB5-EBE3-477E-B590-4FE6290CA1A1}" srcId="{756EC7AF-7918-4602-B93E-B714AA8BF538}" destId="{1CD9EFFA-60DD-472C-B295-CE949978E903}" srcOrd="2" destOrd="0" parTransId="{1AE3680E-C355-4FBF-B854-DAC8415B0329}" sibTransId="{4665A548-383D-49D2-9150-FA772CBB1141}"/>
    <dgm:cxn modelId="{B64B3060-2AD7-434F-B49D-085684BFE2A2}" srcId="{B57B489A-4247-484F-8823-D81AE425F87D}" destId="{E1D7E379-3CA9-4939-8332-055509F8177C}" srcOrd="3" destOrd="0" parTransId="{9757BDA3-9B53-4389-9D77-545AD84D2AAB}" sibTransId="{C3412E92-0863-482F-BDEF-A71818C671DF}"/>
    <dgm:cxn modelId="{03E88623-A273-400D-A1FD-8544D1FF4E0A}" srcId="{756EC7AF-7918-4602-B93E-B714AA8BF538}" destId="{7BD23826-67A9-40B5-9D18-5A710BBD9448}" srcOrd="0" destOrd="0" parTransId="{DAF68F81-2FAF-461C-9F46-D13F9B8FFC16}" sibTransId="{116751C0-0C1B-4618-93F4-6230E3AD5848}"/>
    <dgm:cxn modelId="{D839BF0F-4448-43AC-8576-0223963FB745}" type="presOf" srcId="{01F3E5FA-1572-41CA-A59B-FB41A7534E3F}" destId="{4AF835AD-B2A8-4CB6-9B53-14963E67F09B}" srcOrd="0" destOrd="0" presId="urn:microsoft.com/office/officeart/2005/8/layout/hList1"/>
    <dgm:cxn modelId="{165591E9-2DBE-46F1-8102-84CC9FF8E53D}" srcId="{01F3E5FA-1572-41CA-A59B-FB41A7534E3F}" destId="{5F9D8F35-8423-41CE-B678-1FFCEB42BB5F}" srcOrd="2" destOrd="0" parTransId="{4C63A3CD-DDC2-4A41-9388-4882DD94F082}" sibTransId="{CB2A429C-9EFF-49F2-AF03-4BF8009FEF09}"/>
    <dgm:cxn modelId="{62ACCEFC-5468-4C17-8238-DDE34A0F5AC8}" srcId="{5F9D8F35-8423-41CE-B678-1FFCEB42BB5F}" destId="{BF077E4C-55DD-43E0-B642-9AECEE18FA68}" srcOrd="0" destOrd="0" parTransId="{0117FC3D-B709-4739-B5D8-2F0BB5B88BC8}" sibTransId="{90F4C8C5-A1B7-4F2E-8D42-BDB880644D39}"/>
    <dgm:cxn modelId="{04269A70-54A6-4098-ADC0-511A83B08FC7}" srcId="{B57B489A-4247-484F-8823-D81AE425F87D}" destId="{AF8503DF-5249-4B5B-B2BF-6AC43488E4D8}" srcOrd="6" destOrd="0" parTransId="{3D5E28CB-F7E1-4D9D-8AFC-3A58A8E8B65F}" sibTransId="{62456BF1-067D-4451-892E-673E788AC486}"/>
    <dgm:cxn modelId="{5FCFE650-1A76-4971-8132-1BF0C51D2E5C}" type="presOf" srcId="{3CE9F725-A47A-4175-8D06-C4A1ADA755E9}" destId="{1C42C9F4-F708-4A58-B2E3-8B635B9C14AC}" srcOrd="0" destOrd="3" presId="urn:microsoft.com/office/officeart/2005/8/layout/hList1"/>
    <dgm:cxn modelId="{DEF3BA30-6EAA-4E17-A1E9-318F9BE3A820}" type="presOf" srcId="{B57B489A-4247-484F-8823-D81AE425F87D}" destId="{B30679CE-CBFF-4BB3-852E-B0126F542C70}" srcOrd="0" destOrd="0" presId="urn:microsoft.com/office/officeart/2005/8/layout/hList1"/>
    <dgm:cxn modelId="{4DF31EC0-A6E3-4F63-9072-5AF7249FAC47}" type="presOf" srcId="{4BDCE9F9-D0A9-4853-9105-88B6A83FDEE5}" destId="{DA5FD2A8-4F6E-4BCC-B625-42BE7ED94786}" srcOrd="0" destOrd="4" presId="urn:microsoft.com/office/officeart/2005/8/layout/hList1"/>
    <dgm:cxn modelId="{FCF53B6A-5C5B-491F-8E87-CE0E231C0693}" srcId="{5F9D8F35-8423-41CE-B678-1FFCEB42BB5F}" destId="{4BDCE9F9-D0A9-4853-9105-88B6A83FDEE5}" srcOrd="4" destOrd="0" parTransId="{53DC276B-0B70-486B-807D-1935AE0F3A44}" sibTransId="{4462F6CD-6018-4B45-AE7B-C8B9A215B7AF}"/>
    <dgm:cxn modelId="{0E3BD644-788B-4C09-8BAB-4DD11EDAAD74}" srcId="{5F9D8F35-8423-41CE-B678-1FFCEB42BB5F}" destId="{7180C61D-DF18-475F-A859-A90BE6CB3538}" srcOrd="1" destOrd="0" parTransId="{A81DA10E-B073-43B1-BA8D-24A79C80A4C5}" sibTransId="{AC1836CF-C5A2-4BE9-9314-0CEB5B92F1DE}"/>
    <dgm:cxn modelId="{7E7CAB53-A8D5-482B-9081-1E18DD079A15}" type="presOf" srcId="{A160BED8-FA85-4566-A931-FD4179DA830C}" destId="{1C42C9F4-F708-4A58-B2E3-8B635B9C14AC}" srcOrd="0" destOrd="4" presId="urn:microsoft.com/office/officeart/2005/8/layout/hList1"/>
    <dgm:cxn modelId="{7F56FB82-57DE-4532-ADF4-2413FD04EEE7}" type="presOf" srcId="{756EC7AF-7918-4602-B93E-B714AA8BF538}" destId="{BDD6D28D-12E9-41B3-AEA6-43C8BEE65CD6}" srcOrd="0" destOrd="0" presId="urn:microsoft.com/office/officeart/2005/8/layout/hList1"/>
    <dgm:cxn modelId="{5528AA46-D16D-4F92-B2C9-E4AF64BD3270}" type="presOf" srcId="{AF8503DF-5249-4B5B-B2BF-6AC43488E4D8}" destId="{32AF515D-BB37-41BC-998B-EB546E3C5707}" srcOrd="0" destOrd="6" presId="urn:microsoft.com/office/officeart/2005/8/layout/hList1"/>
    <dgm:cxn modelId="{389192D7-7B92-4054-AEAB-E0D0C1B9C032}" srcId="{5F9D8F35-8423-41CE-B678-1FFCEB42BB5F}" destId="{6E41A252-81D3-414D-B507-C3C3491C3841}" srcOrd="3" destOrd="0" parTransId="{B62E8EAA-AC10-40B5-A45C-D1A0B4662D9B}" sibTransId="{12764988-ED36-4732-8CDC-6FE9470298BA}"/>
    <dgm:cxn modelId="{190EA969-7153-4C05-923D-47A3DD9BCF75}" srcId="{B57B489A-4247-484F-8823-D81AE425F87D}" destId="{F416B8E0-CA46-4324-A9D4-8CB2D554D100}" srcOrd="0" destOrd="0" parTransId="{0A34F326-D12F-49D1-89C2-48F8FBC99F88}" sibTransId="{58EEED28-9ACE-41A2-BF63-6C9753AAF744}"/>
    <dgm:cxn modelId="{9CF3DE6E-3F07-4223-910F-EB508936DD19}" type="presOf" srcId="{A10F60F6-A65D-44A3-A455-836D73099477}" destId="{32AF515D-BB37-41BC-998B-EB546E3C5707}" srcOrd="0" destOrd="1" presId="urn:microsoft.com/office/officeart/2005/8/layout/hList1"/>
    <dgm:cxn modelId="{E82EB637-6C8D-4548-B5B0-DC51C6BA6BC4}" srcId="{01F3E5FA-1572-41CA-A59B-FB41A7534E3F}" destId="{756EC7AF-7918-4602-B93E-B714AA8BF538}" srcOrd="0" destOrd="0" parTransId="{1A7ECC40-A25F-4EF4-BD07-28DEA3EFF7B9}" sibTransId="{A8E55D2A-0F10-4A78-85DB-F64CF60A0DA6}"/>
    <dgm:cxn modelId="{F89FFA90-C8BC-4A38-9A24-33652EC9F8B2}" srcId="{756EC7AF-7918-4602-B93E-B714AA8BF538}" destId="{A160BED8-FA85-4566-A931-FD4179DA830C}" srcOrd="4" destOrd="0" parTransId="{A473CF8A-6BD2-43B5-BB50-1073E2F7F25C}" sibTransId="{6BE233A6-5612-493C-8429-773F01BF51FF}"/>
    <dgm:cxn modelId="{0BF6BCAF-27AE-4C4A-AE7C-E281B18705EE}" srcId="{B57B489A-4247-484F-8823-D81AE425F87D}" destId="{B6C6B54C-EAAD-4918-9873-C2D8ED86F11F}" srcOrd="2" destOrd="0" parTransId="{7E264044-5832-4B5C-B96B-749099672817}" sibTransId="{FE4457BB-1594-4344-936C-88148C640F8E}"/>
    <dgm:cxn modelId="{46B00178-FD10-4BBA-8FD9-72D909F3D3B9}" type="presOf" srcId="{EE6454B5-89A4-4B57-8655-A31D1B9BD2C7}" destId="{32AF515D-BB37-41BC-998B-EB546E3C5707}" srcOrd="0" destOrd="7" presId="urn:microsoft.com/office/officeart/2005/8/layout/hList1"/>
    <dgm:cxn modelId="{86AC943F-7093-45EE-AA2C-BCDBDAF377AC}" type="presOf" srcId="{B6C6B54C-EAAD-4918-9873-C2D8ED86F11F}" destId="{32AF515D-BB37-41BC-998B-EB546E3C5707}" srcOrd="0" destOrd="2" presId="urn:microsoft.com/office/officeart/2005/8/layout/hList1"/>
    <dgm:cxn modelId="{02F533AB-D2E8-43D7-98A7-F87D875AC846}" type="presOf" srcId="{7180C61D-DF18-475F-A859-A90BE6CB3538}" destId="{DA5FD2A8-4F6E-4BCC-B625-42BE7ED94786}" srcOrd="0" destOrd="1" presId="urn:microsoft.com/office/officeart/2005/8/layout/hList1"/>
    <dgm:cxn modelId="{4D66BE75-82E6-4626-9E7E-2C61AA64A01B}" type="presOf" srcId="{F09E98F9-8328-4E3B-998C-1D70096DB8EB}" destId="{32AF515D-BB37-41BC-998B-EB546E3C5707}" srcOrd="0" destOrd="5" presId="urn:microsoft.com/office/officeart/2005/8/layout/hList1"/>
    <dgm:cxn modelId="{5C1CBC3F-EB3A-40C4-B552-B5889C28016F}" srcId="{B57B489A-4247-484F-8823-D81AE425F87D}" destId="{F09E98F9-8328-4E3B-998C-1D70096DB8EB}" srcOrd="5" destOrd="0" parTransId="{06F3CEF9-2355-4CB6-9840-3C6FA7FAD143}" sibTransId="{3C951EC2-E6A9-40F8-8B5D-16C2D8BF0CAF}"/>
    <dgm:cxn modelId="{48A79E18-8ED6-43C5-ADD9-E42F3FC7F6D8}" srcId="{01F3E5FA-1572-41CA-A59B-FB41A7534E3F}" destId="{B57B489A-4247-484F-8823-D81AE425F87D}" srcOrd="1" destOrd="0" parTransId="{A3DD0EDC-7EF5-4BAB-9513-9A18BAE34D1E}" sibTransId="{064E0CF7-8C40-40DC-B864-D89450C5F9F1}"/>
    <dgm:cxn modelId="{7665D590-E4B8-4032-8DD5-8FCCD0799FB0}" srcId="{B57B489A-4247-484F-8823-D81AE425F87D}" destId="{A10F60F6-A65D-44A3-A455-836D73099477}" srcOrd="1" destOrd="0" parTransId="{CFD4663A-2C7B-455E-8C41-2A9ABD924C53}" sibTransId="{6B3C5D09-50D9-44D9-A290-8ED11E4439A6}"/>
    <dgm:cxn modelId="{F9B35F4F-9608-448C-8902-A1D1A874BEEB}" type="presOf" srcId="{2AEE052C-3A96-45E0-AC74-5AD8B910AD1F}" destId="{1C42C9F4-F708-4A58-B2E3-8B635B9C14AC}" srcOrd="0" destOrd="1" presId="urn:microsoft.com/office/officeart/2005/8/layout/hList1"/>
    <dgm:cxn modelId="{D3318826-0C84-4153-A60B-B846DCEC8581}" srcId="{B57B489A-4247-484F-8823-D81AE425F87D}" destId="{EE6454B5-89A4-4B57-8655-A31D1B9BD2C7}" srcOrd="7" destOrd="0" parTransId="{B85023E1-68F6-4A8C-9093-F8B6FB34AE07}" sibTransId="{99FF26B2-6176-4B89-9FF7-B536834920F0}"/>
    <dgm:cxn modelId="{6AB2DCB1-6765-4FE5-90BD-CB4D36F33F15}" type="presOf" srcId="{FE3EE1A9-36EB-45D7-96F8-ADD35E9BAF85}" destId="{32AF515D-BB37-41BC-998B-EB546E3C5707}" srcOrd="0" destOrd="8" presId="urn:microsoft.com/office/officeart/2005/8/layout/hList1"/>
    <dgm:cxn modelId="{056E7AD4-5AA0-4E4F-81B1-C0664C1C5C5A}" srcId="{B57B489A-4247-484F-8823-D81AE425F87D}" destId="{CFD79291-6EEB-4707-AAFA-E8615D3006BF}" srcOrd="4" destOrd="0" parTransId="{2E88AF47-BF66-4F46-AE3F-A332454BC61E}" sibTransId="{2F9C23CA-1E8A-43F9-9A68-DD2F9BABE4C3}"/>
    <dgm:cxn modelId="{43395E7E-992E-40DE-8AA6-E762E2A84C16}" type="presOf" srcId="{6E41A252-81D3-414D-B507-C3C3491C3841}" destId="{DA5FD2A8-4F6E-4BCC-B625-42BE7ED94786}" srcOrd="0" destOrd="3" presId="urn:microsoft.com/office/officeart/2005/8/layout/hList1"/>
    <dgm:cxn modelId="{57C12F50-6367-492C-AB38-125621F78D42}" type="presOf" srcId="{CFD79291-6EEB-4707-AAFA-E8615D3006BF}" destId="{32AF515D-BB37-41BC-998B-EB546E3C5707}" srcOrd="0" destOrd="4" presId="urn:microsoft.com/office/officeart/2005/8/layout/hList1"/>
    <dgm:cxn modelId="{F8A20C83-214A-491F-9BB6-D5D83B234EA3}" type="presOf" srcId="{5F9D8F35-8423-41CE-B678-1FFCEB42BB5F}" destId="{9AA03EB6-A894-4403-8C63-5DB51F7E5D8E}" srcOrd="0" destOrd="0" presId="urn:microsoft.com/office/officeart/2005/8/layout/hList1"/>
    <dgm:cxn modelId="{F31018F3-6E98-4403-8BED-8A4DFEDB7479}" type="presOf" srcId="{7BD23826-67A9-40B5-9D18-5A710BBD9448}" destId="{1C42C9F4-F708-4A58-B2E3-8B635B9C14AC}" srcOrd="0" destOrd="0" presId="urn:microsoft.com/office/officeart/2005/8/layout/hList1"/>
    <dgm:cxn modelId="{54786FD9-E652-408C-A793-C2871C9267A8}" srcId="{756EC7AF-7918-4602-B93E-B714AA8BF538}" destId="{3CE9F725-A47A-4175-8D06-C4A1ADA755E9}" srcOrd="3" destOrd="0" parTransId="{AEFD61E8-FDBE-4712-923E-1D007C947FB9}" sibTransId="{68416D85-B6F8-441E-AEB9-61C36B9910E8}"/>
    <dgm:cxn modelId="{0CC1F7E6-DC9E-4950-9E50-DD23FCFCBF69}" type="presParOf" srcId="{4AF835AD-B2A8-4CB6-9B53-14963E67F09B}" destId="{372EFABC-3306-4977-86F5-9A8BF7A1A817}" srcOrd="0" destOrd="0" presId="urn:microsoft.com/office/officeart/2005/8/layout/hList1"/>
    <dgm:cxn modelId="{9316A8BC-3BCC-406B-B9E4-C7DC74A2B287}" type="presParOf" srcId="{372EFABC-3306-4977-86F5-9A8BF7A1A817}" destId="{BDD6D28D-12E9-41B3-AEA6-43C8BEE65CD6}" srcOrd="0" destOrd="0" presId="urn:microsoft.com/office/officeart/2005/8/layout/hList1"/>
    <dgm:cxn modelId="{C525A7B5-58C1-487F-B209-2C4D0E4FD455}" type="presParOf" srcId="{372EFABC-3306-4977-86F5-9A8BF7A1A817}" destId="{1C42C9F4-F708-4A58-B2E3-8B635B9C14AC}" srcOrd="1" destOrd="0" presId="urn:microsoft.com/office/officeart/2005/8/layout/hList1"/>
    <dgm:cxn modelId="{1FF23202-33EE-4BD0-A749-788E687C5D9E}" type="presParOf" srcId="{4AF835AD-B2A8-4CB6-9B53-14963E67F09B}" destId="{D2367B09-2A90-4860-9B05-EDCD6B1F4AF8}" srcOrd="1" destOrd="0" presId="urn:microsoft.com/office/officeart/2005/8/layout/hList1"/>
    <dgm:cxn modelId="{7DBFA96E-31BB-4925-8991-3C93B520A720}" type="presParOf" srcId="{4AF835AD-B2A8-4CB6-9B53-14963E67F09B}" destId="{4EA1FB2A-F566-43D1-86C4-0A03EAC0A593}" srcOrd="2" destOrd="0" presId="urn:microsoft.com/office/officeart/2005/8/layout/hList1"/>
    <dgm:cxn modelId="{6B1FD8A7-775B-4929-A2B1-CDB540B0ED5B}" type="presParOf" srcId="{4EA1FB2A-F566-43D1-86C4-0A03EAC0A593}" destId="{B30679CE-CBFF-4BB3-852E-B0126F542C70}" srcOrd="0" destOrd="0" presId="urn:microsoft.com/office/officeart/2005/8/layout/hList1"/>
    <dgm:cxn modelId="{15471861-F3ED-41C6-85AE-285975CEE44E}" type="presParOf" srcId="{4EA1FB2A-F566-43D1-86C4-0A03EAC0A593}" destId="{32AF515D-BB37-41BC-998B-EB546E3C5707}" srcOrd="1" destOrd="0" presId="urn:microsoft.com/office/officeart/2005/8/layout/hList1"/>
    <dgm:cxn modelId="{0CB1F07E-FBE9-4AE1-84B7-A68E94F2AE22}" type="presParOf" srcId="{4AF835AD-B2A8-4CB6-9B53-14963E67F09B}" destId="{529E47FF-FC9F-4DC1-9034-CAE13E72DB62}" srcOrd="3" destOrd="0" presId="urn:microsoft.com/office/officeart/2005/8/layout/hList1"/>
    <dgm:cxn modelId="{37777256-BA06-4503-B08E-BD3B9E60FD9E}" type="presParOf" srcId="{4AF835AD-B2A8-4CB6-9B53-14963E67F09B}" destId="{6F3E15E0-8464-473F-8AC5-EA10F4241098}" srcOrd="4" destOrd="0" presId="urn:microsoft.com/office/officeart/2005/8/layout/hList1"/>
    <dgm:cxn modelId="{5B163C3E-35BA-4A7D-AA84-5BAEBC7EED65}" type="presParOf" srcId="{6F3E15E0-8464-473F-8AC5-EA10F4241098}" destId="{9AA03EB6-A894-4403-8C63-5DB51F7E5D8E}" srcOrd="0" destOrd="0" presId="urn:microsoft.com/office/officeart/2005/8/layout/hList1"/>
    <dgm:cxn modelId="{B7F98119-32E0-407A-802C-23F8111D80E5}" type="presParOf" srcId="{6F3E15E0-8464-473F-8AC5-EA10F4241098}" destId="{DA5FD2A8-4F6E-4BCC-B625-42BE7ED94786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90957006-D547-400D-B01F-ED9EA0F99E7B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0F39C029-6DA3-4FC6-B43B-B5C9B11BA1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8508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D3193F-68CB-4D6B-9190-4095B4C50601}" type="slidenum">
              <a:rPr lang="en-US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05302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D3193F-68CB-4D6B-9190-4095B4C5060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34067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6B170AE-BE9D-4FC0-97E6-D30CE5181B20}" type="slidenum">
              <a:rPr lang="de-DE">
                <a:solidFill>
                  <a:prstClr val="black"/>
                </a:solidFill>
              </a:rPr>
              <a:pPr/>
              <a:t>6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806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806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38456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B06BA-3378-4AE7-92CD-6897E1A37335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C9886A-5063-4A8B-B744-F35776541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0143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B06BA-3378-4AE7-92CD-6897E1A37335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C9886A-5063-4A8B-B744-F35776541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86960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B06BA-3378-4AE7-92CD-6897E1A37335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C9886A-5063-4A8B-B744-F35776541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23502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8"/>
          <p:cNvSpPr>
            <a:spLocks noChangeArrowheads="1"/>
          </p:cNvSpPr>
          <p:nvPr userDrawn="1"/>
        </p:nvSpPr>
        <p:spPr bwMode="gray">
          <a:xfrm>
            <a:off x="0" y="5881003"/>
            <a:ext cx="12192000" cy="9842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2366400" y="5882400"/>
            <a:ext cx="9825600" cy="432000"/>
          </a:xfrm>
        </p:spPr>
        <p:txBody>
          <a:bodyPr lIns="0" rIns="9000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effectLst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2366401" y="6331600"/>
            <a:ext cx="9825600" cy="307777"/>
          </a:xfrm>
          <a:prstGeom prst="rect">
            <a:avLst/>
          </a:prstGeom>
        </p:spPr>
        <p:txBody>
          <a:bodyPr lIns="0" tIns="0" rIns="90000" bIns="0">
            <a:spAutoFit/>
          </a:bodyPr>
          <a:lstStyle>
            <a:lvl1pPr marL="0" indent="0" algn="l">
              <a:buNone/>
              <a:defRPr sz="2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pic>
        <p:nvPicPr>
          <p:cNvPr id="9" name="Picture 331" descr="PresentationLoad"/>
          <p:cNvPicPr>
            <a:picLocks noChangeAspect="1" noChangeArrowheads="1"/>
          </p:cNvPicPr>
          <p:nvPr userDrawn="1"/>
        </p:nvPicPr>
        <p:blipFill>
          <a:blip r:embed="rId2" cstate="print">
            <a:lum bright="-18000" contrast="24000"/>
          </a:blip>
          <a:srcRect/>
          <a:stretch>
            <a:fillRect/>
          </a:stretch>
        </p:blipFill>
        <p:spPr bwMode="gray">
          <a:xfrm>
            <a:off x="8715553" y="417471"/>
            <a:ext cx="2880000" cy="461554"/>
          </a:xfrm>
          <a:prstGeom prst="rect">
            <a:avLst/>
          </a:prstGeom>
          <a:noFill/>
        </p:spPr>
      </p:pic>
      <p:sp>
        <p:nvSpPr>
          <p:cNvPr id="10" name="Rectangle 7"/>
          <p:cNvSpPr>
            <a:spLocks noChangeArrowheads="1"/>
          </p:cNvSpPr>
          <p:nvPr userDrawn="1"/>
        </p:nvSpPr>
        <p:spPr bwMode="gray">
          <a:xfrm flipV="1">
            <a:off x="0" y="5746066"/>
            <a:ext cx="12192000" cy="134937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rgbClr val="969696">
                  <a:alpha val="83000"/>
                </a:srgbClr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441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330201" y="658814"/>
            <a:ext cx="11578167" cy="402291"/>
          </a:xfrm>
          <a:prstGeom prst="rect">
            <a:avLst/>
          </a:prstGeom>
        </p:spPr>
        <p:txBody>
          <a:bodyPr vert="horz" lIns="0" tIns="46800" rIns="0" bIns="46800" rtlCol="0" anchor="t" anchorCtr="0">
            <a:noAutofit/>
          </a:bodyPr>
          <a:lstStyle>
            <a:lvl1pPr marL="0" indent="0">
              <a:buNone/>
              <a:defRPr lang="de-DE" sz="2000" b="0" smtClean="0">
                <a:solidFill>
                  <a:schemeClr val="tx1"/>
                </a:solidFill>
                <a:ea typeface="+mj-ea"/>
              </a:defRPr>
            </a:lvl1pPr>
            <a:lvl2pPr marL="0" indent="0">
              <a:buNone/>
              <a:defRPr lang="de-DE" sz="2000" b="0" smtClean="0"/>
            </a:lvl2pPr>
            <a:lvl3pPr marL="0" indent="0">
              <a:buNone/>
              <a:defRPr lang="de-DE" sz="2000" b="0" smtClean="0"/>
            </a:lvl3pPr>
            <a:lvl4pPr marL="0" indent="0">
              <a:buNone/>
              <a:defRPr lang="de-DE" sz="2000" b="0" smtClean="0"/>
            </a:lvl4pPr>
            <a:lvl5pPr marL="0" indent="0">
              <a:buNone/>
              <a:defRPr lang="de-DE" sz="2000" b="0"/>
            </a:lvl5pPr>
          </a:lstStyle>
          <a:p>
            <a:pPr lvl="0">
              <a:spcBef>
                <a:spcPct val="0"/>
              </a:spcBef>
            </a:pPr>
            <a:r>
              <a:rPr lang="de-DE" dirty="0" smtClean="0"/>
              <a:t>Textmaster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9172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336551" y="1096964"/>
            <a:ext cx="11571816" cy="5068887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gray">
          <a:xfrm>
            <a:off x="330201" y="658814"/>
            <a:ext cx="11578167" cy="402291"/>
          </a:xfrm>
          <a:prstGeom prst="rect">
            <a:avLst/>
          </a:prstGeom>
        </p:spPr>
        <p:txBody>
          <a:bodyPr vert="horz" lIns="0" tIns="46800" rIns="0" bIns="46800" rtlCol="0" anchor="t" anchorCtr="0">
            <a:noAutofit/>
          </a:bodyPr>
          <a:lstStyle>
            <a:lvl1pPr marL="0" indent="0">
              <a:buNone/>
              <a:defRPr lang="de-DE" sz="2000" b="0" smtClean="0">
                <a:solidFill>
                  <a:schemeClr val="tx1"/>
                </a:solidFill>
                <a:ea typeface="+mj-ea"/>
              </a:defRPr>
            </a:lvl1pPr>
            <a:lvl2pPr marL="0" indent="0">
              <a:buNone/>
              <a:defRPr lang="de-DE" sz="2000" b="0" smtClean="0"/>
            </a:lvl2pPr>
            <a:lvl3pPr marL="0" indent="0">
              <a:buNone/>
              <a:defRPr lang="de-DE" sz="2000" b="0" smtClean="0"/>
            </a:lvl3pPr>
            <a:lvl4pPr marL="0" indent="0">
              <a:buNone/>
              <a:defRPr lang="de-DE" sz="2000" b="0" smtClean="0"/>
            </a:lvl4pPr>
            <a:lvl5pPr marL="0" indent="0">
              <a:buNone/>
              <a:defRPr lang="de-DE" sz="2000" b="0"/>
            </a:lvl5pPr>
          </a:lstStyle>
          <a:p>
            <a:pPr lvl="0">
              <a:spcBef>
                <a:spcPct val="0"/>
              </a:spcBef>
            </a:pPr>
            <a:r>
              <a:rPr lang="de-DE" dirty="0" smtClean="0"/>
              <a:t>Textmaster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653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/>
          <a:lstStyle/>
          <a:p>
            <a:fld id="{760F18AB-2101-4ECC-91A7-4995B68A2A4D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/>
          <a:lstStyle/>
          <a:p>
            <a:fld id="{BD8B985D-8E96-4FCD-B670-231BEE3B03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36962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B06BA-3378-4AE7-92CD-6897E1A37335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C9886A-5063-4A8B-B744-F35776541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93231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B06BA-3378-4AE7-92CD-6897E1A37335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C9886A-5063-4A8B-B744-F35776541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559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B06BA-3378-4AE7-92CD-6897E1A37335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C9886A-5063-4A8B-B744-F35776541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1745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B06BA-3378-4AE7-92CD-6897E1A37335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C9886A-5063-4A8B-B744-F35776541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32711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B06BA-3378-4AE7-92CD-6897E1A37335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C9886A-5063-4A8B-B744-F35776541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8162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B06BA-3378-4AE7-92CD-6897E1A37335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C9886A-5063-4A8B-B744-F35776541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19778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B06BA-3378-4AE7-92CD-6897E1A37335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C9886A-5063-4A8B-B744-F35776541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9784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B06BA-3378-4AE7-92CD-6897E1A37335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C9886A-5063-4A8B-B744-F35776541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91476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4B06BA-3378-4AE7-92CD-6897E1A37335}" type="datetimeFigureOut">
              <a:rPr lang="en-US" smtClean="0"/>
              <a:t>5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C9886A-5063-4A8B-B744-F35776541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632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30200" y="136800"/>
            <a:ext cx="11584517" cy="522000"/>
          </a:xfrm>
          <a:prstGeom prst="rect">
            <a:avLst/>
          </a:prstGeom>
        </p:spPr>
        <p:txBody>
          <a:bodyPr vert="horz" lIns="0" tIns="46800" rIns="0" bIns="4680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gray">
          <a:xfrm>
            <a:off x="1" y="2017714"/>
            <a:ext cx="12191999" cy="4840286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10000"/>
                </a:srgbClr>
              </a:gs>
              <a:gs pos="100000">
                <a:srgbClr val="FFFFFF">
                  <a:alpha val="0"/>
                </a:srgbClr>
              </a:gs>
            </a:gsLst>
            <a:lin ang="16200000" scaled="1"/>
            <a:tileRect/>
          </a:gradFill>
          <a:ln w="12700">
            <a:noFill/>
            <a:miter lim="800000"/>
            <a:headEnd/>
            <a:tailEnd/>
          </a:ln>
          <a:effectLst/>
        </p:spPr>
        <p:txBody>
          <a:bodyPr lIns="108000" tIns="108000" rIns="144000" bIns="72000"/>
          <a:lstStyle/>
          <a:p>
            <a:pPr marL="190500" indent="-190500">
              <a:lnSpc>
                <a:spcPct val="95000"/>
              </a:lnSpc>
              <a:spcAft>
                <a:spcPts val="800"/>
              </a:spcAft>
              <a:buClr>
                <a:srgbClr val="969696"/>
              </a:buClr>
              <a:buFont typeface="Wingdings" pitchFamily="2" charset="2"/>
              <a:buChar char="§"/>
              <a:defRPr/>
            </a:pPr>
            <a:endParaRPr lang="de-DE" noProof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Line 7"/>
          <p:cNvSpPr>
            <a:spLocks noChangeShapeType="1"/>
          </p:cNvSpPr>
          <p:nvPr userDrawn="1"/>
        </p:nvSpPr>
        <p:spPr bwMode="gray">
          <a:xfrm>
            <a:off x="330200" y="6456364"/>
            <a:ext cx="0" cy="401637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30199" y="1096964"/>
            <a:ext cx="11578167" cy="506888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0307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>
              <a:lumMod val="65000"/>
              <a:lumOff val="35000"/>
            </a:schemeClr>
          </a:solidFill>
          <a:latin typeface="Calibri" pitchFamily="34" charset="0"/>
          <a:ea typeface="+mj-ea"/>
          <a:cs typeface="Calibri" pitchFamily="34" charset="0"/>
        </a:defRPr>
      </a:lvl1pPr>
    </p:titleStyle>
    <p:bodyStyle>
      <a:lvl1pPr marL="0" indent="0" algn="l" defTabSz="914400" rtl="0" eaLnBrk="1" latinLnBrk="0" hangingPunct="1">
        <a:spcBef>
          <a:spcPts val="800"/>
        </a:spcBef>
        <a:buFont typeface="Arial" pitchFamily="34" charset="0"/>
        <a:buNone/>
        <a:defRPr sz="1600" b="1" kern="120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1pPr>
      <a:lvl2pPr marL="0" indent="0" algn="l" defTabSz="914400" rtl="0" eaLnBrk="1" latinLnBrk="0" hangingPunct="1">
        <a:spcBef>
          <a:spcPts val="800"/>
        </a:spcBef>
        <a:buFont typeface="Arial" pitchFamily="34" charset="0"/>
        <a:buNone/>
        <a:defRPr sz="1600" kern="120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2pPr>
      <a:lvl3pPr marL="180975" indent="-180975" algn="l" defTabSz="914400" rtl="0" eaLnBrk="1" latinLnBrk="0" hangingPunct="1">
        <a:spcBef>
          <a:spcPts val="800"/>
        </a:spcBef>
        <a:buClr>
          <a:schemeClr val="accent1"/>
        </a:buClr>
        <a:buFont typeface="Wingdings" pitchFamily="2" charset="2"/>
        <a:buChar char="§"/>
        <a:defRPr sz="1600" kern="120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3pPr>
      <a:lvl4pPr marL="355600" indent="-174625" algn="l" defTabSz="914400" rtl="0" eaLnBrk="1" latinLnBrk="0" hangingPunct="1">
        <a:spcBef>
          <a:spcPts val="800"/>
        </a:spcBef>
        <a:buClr>
          <a:schemeClr val="accent1"/>
        </a:buClr>
        <a:buFont typeface="Wingdings" pitchFamily="2" charset="2"/>
        <a:buChar char="§"/>
        <a:defRPr sz="1400" kern="120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4pPr>
      <a:lvl5pPr marL="536575" indent="-180975" algn="l" defTabSz="914400" rtl="0" eaLnBrk="1" latinLnBrk="0" hangingPunct="1">
        <a:spcBef>
          <a:spcPts val="800"/>
        </a:spcBef>
        <a:buClr>
          <a:schemeClr val="accent1"/>
        </a:buClr>
        <a:buFont typeface="Wingdings" pitchFamily="2" charset="2"/>
        <a:buChar char="§"/>
        <a:defRPr sz="1200" kern="120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d.dookie@lse.ac.uk" TargetMode="External"/><Relationship Id="rId7" Type="http://schemas.openxmlformats.org/officeDocument/2006/relationships/slide" Target="slide7.xml"/><Relationship Id="rId2" Type="http://schemas.openxmlformats.org/officeDocument/2006/relationships/hyperlink" Target="http://www.lse.ac.uk/GranthamInstitute/profile/denyse-dookie/" TargetMode="External"/><Relationship Id="rId1" Type="http://schemas.openxmlformats.org/officeDocument/2006/relationships/slideLayout" Target="../slideLayouts/slideLayout1.xml"/><Relationship Id="rId6" Type="http://schemas.openxmlformats.org/officeDocument/2006/relationships/slide" Target="slide2.xml"/><Relationship Id="rId5" Type="http://schemas.openxmlformats.org/officeDocument/2006/relationships/image" Target="../media/image2.png"/><Relationship Id="rId4" Type="http://schemas.openxmlformats.org/officeDocument/2006/relationships/slide" Target="slide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5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5" Type="http://schemas.openxmlformats.org/officeDocument/2006/relationships/slide" Target="slide1.xml"/><Relationship Id="rId4" Type="http://schemas.openxmlformats.org/officeDocument/2006/relationships/slide" Target="slide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6.png"/><Relationship Id="rId4" Type="http://schemas.openxmlformats.org/officeDocument/2006/relationships/slide" Target="slid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" Target="slide1.xml"/><Relationship Id="rId5" Type="http://schemas.openxmlformats.org/officeDocument/2006/relationships/tags" Target="../tags/tag5.xml"/><Relationship Id="rId10" Type="http://schemas.openxmlformats.org/officeDocument/2006/relationships/notesSlide" Target="../notesSlides/notesSlide3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slide" Target="slide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38210"/>
            <a:ext cx="12192000" cy="685800"/>
          </a:xfrm>
          <a:solidFill>
            <a:schemeClr val="accent5">
              <a:lumMod val="20000"/>
              <a:lumOff val="80000"/>
            </a:schemeClr>
          </a:solidFill>
        </p:spPr>
        <p:txBody>
          <a:bodyPr>
            <a:normAutofit fontScale="90000"/>
          </a:bodyPr>
          <a:lstStyle/>
          <a:p>
            <a:r>
              <a:rPr lang="en-US" sz="2400" dirty="0"/>
              <a:t>More than a Feeling: </a:t>
            </a:r>
            <a:r>
              <a:rPr lang="en-US" sz="2400" dirty="0" smtClean="0"/>
              <a:t>Using </a:t>
            </a:r>
            <a:r>
              <a:rPr lang="en-US" sz="2400" dirty="0"/>
              <a:t>Climate Information to Understand and </a:t>
            </a: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sz="2400" dirty="0" smtClean="0"/>
              <a:t>Communicate </a:t>
            </a:r>
            <a:r>
              <a:rPr lang="en-US" sz="2400" dirty="0"/>
              <a:t>Storm Risk in Caribbean Small Islands</a:t>
            </a:r>
          </a:p>
        </p:txBody>
      </p:sp>
      <p:sp>
        <p:nvSpPr>
          <p:cNvPr id="4" name="Rectangle 1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0" y="824010"/>
            <a:ext cx="12192000" cy="53860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>
              <a:lnSpc>
                <a:spcPct val="100000"/>
              </a:lnSpc>
            </a:pPr>
            <a:r>
              <a:rPr kumimoji="0" lang="en-US" alt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Denyse S. Dookie</a:t>
            </a:r>
          </a:p>
          <a:p>
            <a:pPr lvl="0">
              <a:lnSpc>
                <a:spcPct val="100000"/>
              </a:lnSpc>
            </a:pPr>
            <a:r>
              <a:rPr kumimoji="0" lang="en-US" alt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</a:t>
            </a:r>
            <a:r>
              <a:rPr kumimoji="0" lang="en-US" alt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Grantham Research Institute on Climate Change and the Environment/</a:t>
            </a:r>
            <a:r>
              <a:rPr lang="en-US" altLang="en-US" sz="1600" dirty="0" smtClean="0">
                <a:latin typeface="+mn-lt"/>
              </a:rPr>
              <a:t>LSE </a:t>
            </a:r>
            <a:r>
              <a:rPr kumimoji="0" lang="en-US" alt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| </a:t>
            </a:r>
            <a:r>
              <a:rPr kumimoji="0" lang="en-US" alt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hlinkClick r:id="rId2"/>
              </a:rPr>
              <a:t>Profile</a:t>
            </a:r>
            <a:r>
              <a:rPr kumimoji="0" lang="en-US" alt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t> | </a:t>
            </a:r>
            <a:r>
              <a:rPr kumimoji="0" lang="en-US" alt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hlinkClick r:id="rId3"/>
              </a:rPr>
              <a:t>d.dookie@lse.ac.uk</a:t>
            </a:r>
            <a:endParaRPr kumimoji="0" lang="en-US" alt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5" name="Picture 4">
            <a:hlinkClick r:id="rId4" action="ppaction://hlinksldjump" highlightClick="1"/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7159" y="1737106"/>
            <a:ext cx="4337680" cy="3151905"/>
          </a:xfrm>
          <a:prstGeom prst="rect">
            <a:avLst/>
          </a:prstGeom>
          <a:noFill/>
        </p:spPr>
      </p:pic>
      <p:sp>
        <p:nvSpPr>
          <p:cNvPr id="6" name="Rectangle 1"/>
          <p:cNvSpPr txBox="1">
            <a:spLocks noChangeArrowheads="1"/>
          </p:cNvSpPr>
          <p:nvPr/>
        </p:nvSpPr>
        <p:spPr bwMode="auto">
          <a:xfrm>
            <a:off x="0" y="1378008"/>
            <a:ext cx="12191999" cy="23083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0" rIns="91440" bIns="45720" numCol="1" rtlCol="0" anchor="ctr" anchorCtr="0" compatLnSpc="1">
            <a:prstTxWarp prst="textNoShape">
              <a:avLst/>
            </a:prstTxWarp>
            <a:spAutoFit/>
          </a:bodyPr>
          <a:lstStyle>
            <a:lvl1pPr mar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en-US" sz="1200" i="1" dirty="0" smtClean="0">
                <a:solidFill>
                  <a:schemeClr val="accent2"/>
                </a:solidFill>
                <a:latin typeface="+mn-lt"/>
              </a:rPr>
              <a:t>* please click on links to access more information *</a:t>
            </a:r>
            <a:endParaRPr lang="en-US" altLang="en-US" sz="1200" i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3927159" y="4937294"/>
            <a:ext cx="4337680" cy="170320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spcBef>
                <a:spcPts val="200"/>
              </a:spcBef>
              <a:spcAft>
                <a:spcPts val="2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1400" b="0" dirty="0" smtClean="0"/>
              <a:t>Regional average storm </a:t>
            </a:r>
            <a:r>
              <a:rPr lang="en-US" sz="1400" b="0" dirty="0"/>
              <a:t>lead </a:t>
            </a:r>
            <a:r>
              <a:rPr lang="en-US" sz="1400" b="0" dirty="0" smtClean="0"/>
              <a:t>time, </a:t>
            </a:r>
            <a:r>
              <a:rPr lang="en-US" sz="1400" b="0" dirty="0"/>
              <a:t>i.e.</a:t>
            </a:r>
            <a:r>
              <a:rPr lang="en-US" sz="1400" b="0" dirty="0" smtClean="0"/>
              <a:t> difference </a:t>
            </a:r>
            <a:r>
              <a:rPr lang="en-US" sz="1400" b="0" dirty="0"/>
              <a:t>in hours between time at </a:t>
            </a:r>
            <a:r>
              <a:rPr lang="en-US" sz="1400" b="0" dirty="0" smtClean="0"/>
              <a:t>first-issued </a:t>
            </a:r>
            <a:r>
              <a:rPr lang="en-US" sz="1400" b="0" dirty="0"/>
              <a:t>storm advisory and time at </a:t>
            </a:r>
            <a:r>
              <a:rPr lang="en-US" sz="1400" b="0" dirty="0" smtClean="0"/>
              <a:t>storm approach or landfall: </a:t>
            </a:r>
            <a:r>
              <a:rPr lang="en-US" sz="1400" dirty="0" smtClean="0"/>
              <a:t>21.8 - 33.4 hours  </a:t>
            </a:r>
          </a:p>
          <a:p>
            <a:pPr marL="228600" indent="-228600">
              <a:spcBef>
                <a:spcPts val="200"/>
              </a:spcBef>
              <a:spcAft>
                <a:spcPts val="2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1400" b="0" dirty="0" smtClean="0"/>
              <a:t>Average storm lead-time by country varies between               9 hours (Grenada) to 31.2 hours (The Bahamas)</a:t>
            </a:r>
          </a:p>
          <a:p>
            <a:pPr marL="228600" indent="-228600">
              <a:spcBef>
                <a:spcPts val="200"/>
              </a:spcBef>
              <a:spcAft>
                <a:spcPts val="2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1400" b="0" dirty="0" smtClean="0"/>
              <a:t>Highlights disparity across region, even when lead times weighted by number of storms affecting islands</a:t>
            </a:r>
            <a:endParaRPr lang="en-US" sz="1400" dirty="0" smtClean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188684" y="1664537"/>
            <a:ext cx="3468914" cy="24905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</a:pPr>
            <a:r>
              <a:rPr lang="en-US" sz="1400" i="1" dirty="0" smtClean="0">
                <a:solidFill>
                  <a:schemeClr val="accent5">
                    <a:lumMod val="75000"/>
                  </a:schemeClr>
                </a:solidFill>
              </a:rPr>
              <a:t>Storms a key threat in the Caribbean</a:t>
            </a:r>
          </a:p>
          <a:p>
            <a:pPr marL="228600" indent="-228600">
              <a:spcBef>
                <a:spcPts val="200"/>
              </a:spcBef>
              <a:spcAft>
                <a:spcPts val="2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1400" b="0" dirty="0"/>
              <a:t>Caribbean islands have historically been affected by natural </a:t>
            </a:r>
            <a:r>
              <a:rPr lang="en-US" sz="1400" b="0" dirty="0" smtClean="0"/>
              <a:t>hazards</a:t>
            </a:r>
          </a:p>
          <a:p>
            <a:pPr marL="228600" indent="-228600">
              <a:spcBef>
                <a:spcPts val="200"/>
              </a:spcBef>
              <a:spcAft>
                <a:spcPts val="2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1400" b="0" dirty="0" smtClean="0"/>
              <a:t>Storms </a:t>
            </a:r>
            <a:r>
              <a:rPr lang="en-US" sz="1400" b="0" dirty="0"/>
              <a:t>are most frequent </a:t>
            </a:r>
            <a:r>
              <a:rPr lang="en-US" sz="1400" b="0" dirty="0" smtClean="0"/>
              <a:t>&amp; severe </a:t>
            </a:r>
            <a:r>
              <a:rPr lang="en-US" sz="1400" b="0" dirty="0"/>
              <a:t>threat </a:t>
            </a:r>
            <a:r>
              <a:rPr lang="en-US" sz="1400" b="0" dirty="0" smtClean="0"/>
              <a:t>(i.e. people affected</a:t>
            </a:r>
            <a:r>
              <a:rPr lang="en-US" sz="1400" b="0" dirty="0"/>
              <a:t>, </a:t>
            </a:r>
            <a:r>
              <a:rPr lang="en-US" sz="1400" b="0" dirty="0" smtClean="0"/>
              <a:t>economic damages) – </a:t>
            </a:r>
            <a:r>
              <a:rPr lang="en-US" sz="1400" b="0" dirty="0" smtClean="0">
                <a:hlinkClick r:id="rId6" action="ppaction://hlinksldjump"/>
              </a:rPr>
              <a:t>Click here</a:t>
            </a:r>
            <a:endParaRPr lang="en-US" sz="1400" b="0" dirty="0"/>
          </a:p>
          <a:p>
            <a:pPr marL="228600" indent="-228600">
              <a:spcBef>
                <a:spcPts val="200"/>
              </a:spcBef>
              <a:spcAft>
                <a:spcPts val="2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1400" b="0" dirty="0" smtClean="0"/>
              <a:t>Ongoing </a:t>
            </a:r>
            <a:r>
              <a:rPr lang="en-US" sz="1400" b="0" dirty="0"/>
              <a:t>research </a:t>
            </a:r>
            <a:r>
              <a:rPr lang="en-US" sz="1400" b="0" dirty="0" smtClean="0"/>
              <a:t>efforts help </a:t>
            </a:r>
            <a:r>
              <a:rPr lang="en-US" sz="1400" b="0" dirty="0"/>
              <a:t>b</a:t>
            </a:r>
            <a:r>
              <a:rPr lang="en-US" sz="1400" b="0" dirty="0" smtClean="0"/>
              <a:t>etter </a:t>
            </a:r>
            <a:r>
              <a:rPr lang="en-US" sz="1400" b="0" dirty="0"/>
              <a:t>forecast </a:t>
            </a:r>
            <a:r>
              <a:rPr lang="en-US" sz="1400" b="0" dirty="0" smtClean="0"/>
              <a:t>storm track </a:t>
            </a:r>
            <a:r>
              <a:rPr lang="en-US" sz="1400" b="0" dirty="0"/>
              <a:t>and </a:t>
            </a:r>
            <a:r>
              <a:rPr lang="en-US" sz="1400" b="0" dirty="0" smtClean="0"/>
              <a:t>intensity, but relatively less research/policy on improving disaster preparedness </a:t>
            </a:r>
            <a:endParaRPr lang="en-US" sz="1400" dirty="0" smtClean="0"/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3657598" y="1664536"/>
            <a:ext cx="0" cy="5029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H="1">
            <a:off x="8512633" y="1664536"/>
            <a:ext cx="0" cy="5029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 txBox="1">
            <a:spLocks/>
          </p:cNvSpPr>
          <p:nvPr/>
        </p:nvSpPr>
        <p:spPr>
          <a:xfrm>
            <a:off x="8529918" y="1664535"/>
            <a:ext cx="3545542" cy="26654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</a:pPr>
            <a:r>
              <a:rPr lang="en-US" sz="1400" i="1" dirty="0" smtClean="0">
                <a:solidFill>
                  <a:schemeClr val="accent5">
                    <a:lumMod val="75000"/>
                  </a:schemeClr>
                </a:solidFill>
              </a:rPr>
              <a:t>Communicating Disaster Risk</a:t>
            </a:r>
            <a:endParaRPr lang="en-US" sz="1400" i="1" dirty="0">
              <a:solidFill>
                <a:schemeClr val="accent5">
                  <a:lumMod val="75000"/>
                </a:schemeClr>
              </a:solidFill>
            </a:endParaRPr>
          </a:p>
          <a:p>
            <a:pPr marL="228600" indent="-228600"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1400" b="0" dirty="0" smtClean="0"/>
              <a:t>Survey </a:t>
            </a:r>
            <a:r>
              <a:rPr lang="en-US" sz="1400" b="0" dirty="0"/>
              <a:t>of 2016 Wet Season </a:t>
            </a:r>
            <a:r>
              <a:rPr lang="en-US" sz="1400" b="0" dirty="0" err="1"/>
              <a:t>CariCOF</a:t>
            </a:r>
            <a:r>
              <a:rPr lang="en-US" sz="1400" b="0" dirty="0"/>
              <a:t> participants highlighted a ‘weekend effect’ which may affect many Caribbean weather and disaster </a:t>
            </a:r>
            <a:r>
              <a:rPr lang="en-US" sz="1400" b="0" dirty="0" smtClean="0"/>
              <a:t>agencies </a:t>
            </a:r>
            <a:r>
              <a:rPr lang="en-US" sz="1400" b="0" smtClean="0"/>
              <a:t>– </a:t>
            </a:r>
            <a:r>
              <a:rPr lang="en-US" sz="1400" b="0" smtClean="0">
                <a:hlinkClick r:id="rId7" action="ppaction://hlinksldjump"/>
              </a:rPr>
              <a:t>Click here</a:t>
            </a:r>
            <a:endParaRPr lang="en-US" sz="1400" b="0" dirty="0" smtClean="0"/>
          </a:p>
          <a:p>
            <a:pPr marL="409575" lvl="2" indent="-228600"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</a:pPr>
            <a:r>
              <a:rPr lang="en-US" sz="1400" b="0" dirty="0" smtClean="0"/>
              <a:t>Short lead times and reduced awareness on weekends may challenge quick action</a:t>
            </a:r>
          </a:p>
          <a:p>
            <a:pPr marL="228600" indent="-228600"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1400" b="0" dirty="0" smtClean="0"/>
              <a:t>Improved </a:t>
            </a:r>
            <a:r>
              <a:rPr lang="en-US" sz="1400" b="0" dirty="0"/>
              <a:t>institutional support to </a:t>
            </a:r>
            <a:r>
              <a:rPr lang="en-US" sz="1400" b="0" dirty="0" smtClean="0"/>
              <a:t>better </a:t>
            </a:r>
            <a:r>
              <a:rPr lang="en-US" sz="1400" b="0" dirty="0" err="1" smtClean="0"/>
              <a:t>utilise</a:t>
            </a:r>
            <a:r>
              <a:rPr lang="en-US" sz="1400" b="0" dirty="0" smtClean="0"/>
              <a:t> climate information, and enhanced communication and local coordination listed as main essential resources required</a:t>
            </a:r>
            <a:endParaRPr lang="en-US" sz="1400" b="0" dirty="0"/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</a:pPr>
            <a:endParaRPr lang="en-US" sz="1400" dirty="0" smtClean="0"/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193167" y="4060980"/>
            <a:ext cx="3468914" cy="263275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</a:pPr>
            <a:r>
              <a:rPr lang="en-US" sz="1400" i="1" dirty="0" smtClean="0">
                <a:solidFill>
                  <a:schemeClr val="accent5">
                    <a:lumMod val="75000"/>
                  </a:schemeClr>
                </a:solidFill>
              </a:rPr>
              <a:t>Insights of Climate Information</a:t>
            </a:r>
          </a:p>
          <a:p>
            <a:pPr marL="228600" indent="-228600">
              <a:spcBef>
                <a:spcPts val="200"/>
              </a:spcBef>
              <a:spcAft>
                <a:spcPts val="2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1400" b="0" dirty="0" smtClean="0"/>
              <a:t>Climate Information, such as storm lead time, can help improve </a:t>
            </a:r>
            <a:r>
              <a:rPr lang="en-US" sz="1400" b="0" dirty="0"/>
              <a:t>the context and awareness of </a:t>
            </a:r>
            <a:r>
              <a:rPr lang="en-US" sz="1400" b="0" dirty="0" smtClean="0"/>
              <a:t>impending threats towards enhanced disaster preparedness and resilience strategies</a:t>
            </a:r>
          </a:p>
          <a:p>
            <a:pPr marL="228600" indent="-228600">
              <a:spcBef>
                <a:spcPts val="200"/>
              </a:spcBef>
              <a:spcAft>
                <a:spcPts val="2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1400" b="0" dirty="0"/>
              <a:t>R</a:t>
            </a:r>
            <a:r>
              <a:rPr lang="en-US" sz="1400" b="0" dirty="0" smtClean="0"/>
              <a:t>esearch identifies range of relatively short lead </a:t>
            </a:r>
            <a:r>
              <a:rPr lang="en-US" sz="1400" b="0" dirty="0"/>
              <a:t>times across </a:t>
            </a:r>
            <a:r>
              <a:rPr lang="en-US" sz="1400" b="0" dirty="0" smtClean="0"/>
              <a:t>Caribbean islands, challenges of adequate preparedness and active </a:t>
            </a:r>
            <a:r>
              <a:rPr lang="en-US" sz="1400" b="0" dirty="0" err="1" smtClean="0"/>
              <a:t>prioritisation</a:t>
            </a:r>
            <a:r>
              <a:rPr lang="en-US" sz="1400" b="0" dirty="0" smtClean="0"/>
              <a:t> of needs, given </a:t>
            </a:r>
            <a:r>
              <a:rPr lang="en-US" sz="1400" b="0" dirty="0"/>
              <a:t>resource-related </a:t>
            </a:r>
            <a:r>
              <a:rPr lang="en-US" sz="1400" b="0" dirty="0" smtClean="0"/>
              <a:t>limitations</a:t>
            </a:r>
            <a:endParaRPr lang="en-US" sz="1400" dirty="0" smtClean="0"/>
          </a:p>
        </p:txBody>
      </p:sp>
      <p:sp>
        <p:nvSpPr>
          <p:cNvPr id="16" name="Content Placeholder 2"/>
          <p:cNvSpPr txBox="1">
            <a:spLocks/>
          </p:cNvSpPr>
          <p:nvPr/>
        </p:nvSpPr>
        <p:spPr>
          <a:xfrm>
            <a:off x="7247965" y="4504765"/>
            <a:ext cx="1016874" cy="3382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200"/>
              </a:spcBef>
              <a:spcAft>
                <a:spcPts val="200"/>
              </a:spcAft>
              <a:buClr>
                <a:srgbClr val="E48312"/>
              </a:buClr>
            </a:pPr>
            <a:r>
              <a:rPr lang="en-US" sz="1400" b="0" dirty="0" smtClean="0">
                <a:solidFill>
                  <a:schemeClr val="accent2"/>
                </a:solidFill>
                <a:hlinkClick r:id="rId4" action="ppaction://hlinksldjump"/>
              </a:rPr>
              <a:t>Click here</a:t>
            </a:r>
            <a:endParaRPr lang="en-US" sz="1400" dirty="0" smtClean="0">
              <a:solidFill>
                <a:schemeClr val="accent2"/>
              </a:solidFill>
            </a:endParaRPr>
          </a:p>
        </p:txBody>
      </p:sp>
      <p:sp>
        <p:nvSpPr>
          <p:cNvPr id="17" name="Content Placeholder 2"/>
          <p:cNvSpPr txBox="1">
            <a:spLocks/>
          </p:cNvSpPr>
          <p:nvPr/>
        </p:nvSpPr>
        <p:spPr>
          <a:xfrm>
            <a:off x="8529918" y="5580529"/>
            <a:ext cx="3545542" cy="11132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buClr>
                <a:srgbClr val="E48312"/>
              </a:buClr>
            </a:pPr>
            <a:r>
              <a:rPr lang="en-US" sz="800" i="1" dirty="0" smtClean="0">
                <a:solidFill>
                  <a:schemeClr val="accent5">
                    <a:lumMod val="75000"/>
                  </a:schemeClr>
                </a:solidFill>
              </a:rPr>
              <a:t>Acknowledgements</a:t>
            </a:r>
            <a:endParaRPr lang="en-US" sz="800" i="1" dirty="0">
              <a:solidFill>
                <a:schemeClr val="accent5">
                  <a:lumMod val="75000"/>
                </a:schemeClr>
              </a:solidFill>
            </a:endParaRPr>
          </a:p>
          <a:p>
            <a:pPr algn="just">
              <a:spcBef>
                <a:spcPts val="0"/>
              </a:spcBef>
              <a:buClr>
                <a:srgbClr val="E48312"/>
              </a:buClr>
            </a:pPr>
            <a:r>
              <a:rPr lang="en-US" sz="800" i="1" dirty="0" smtClean="0"/>
              <a:t>Many thanks </a:t>
            </a:r>
            <a:r>
              <a:rPr lang="en-US" sz="800" i="1" dirty="0"/>
              <a:t>to</a:t>
            </a:r>
            <a:r>
              <a:rPr lang="en-US" sz="800" b="0" dirty="0"/>
              <a:t>: Dan Osgood (IRI/Columbia); Participants at 2016 Wet/Hurricane Season Caribbean Climate Outlook Forum (</a:t>
            </a:r>
            <a:r>
              <a:rPr lang="en-US" sz="800" b="0" dirty="0" err="1"/>
              <a:t>CariCOF</a:t>
            </a:r>
            <a:r>
              <a:rPr lang="en-US" sz="800" b="0" dirty="0"/>
              <a:t>), Roseau, Dominica; </a:t>
            </a:r>
            <a:r>
              <a:rPr lang="en-US" sz="800" b="0" dirty="0" err="1"/>
              <a:t>Cédric</a:t>
            </a:r>
            <a:r>
              <a:rPr lang="en-US" sz="800" b="0" dirty="0"/>
              <a:t> Van </a:t>
            </a:r>
            <a:r>
              <a:rPr lang="en-US" sz="800" b="0" dirty="0" err="1"/>
              <a:t>Meerbeeck</a:t>
            </a:r>
            <a:r>
              <a:rPr lang="en-US" sz="800" b="0" dirty="0"/>
              <a:t> (Caribbean Institute for Meteorology and Hydrology, Barbados); </a:t>
            </a:r>
            <a:r>
              <a:rPr lang="en-US" sz="800" b="0" dirty="0" err="1"/>
              <a:t>Glenroy</a:t>
            </a:r>
            <a:r>
              <a:rPr lang="en-US" sz="800" b="0" dirty="0"/>
              <a:t> Brown (Jamaica Meteorological Services); Dale Destin (Antigua &amp; Barbuda Meteorological Services); Shem Willie (Saint Lucia Meteorological Services); </a:t>
            </a:r>
            <a:r>
              <a:rPr lang="en-US" sz="800" b="0" dirty="0" err="1"/>
              <a:t>Suzana</a:t>
            </a:r>
            <a:r>
              <a:rPr lang="en-US" sz="800" b="0" dirty="0"/>
              <a:t> Camargo and Chia-Ying Lee (</a:t>
            </a:r>
            <a:r>
              <a:rPr lang="en-US" sz="800" b="0" dirty="0" smtClean="0"/>
              <a:t>Lamont/Columbia University); </a:t>
            </a:r>
            <a:r>
              <a:rPr lang="en-US" sz="800" b="0" dirty="0"/>
              <a:t>Carolyn </a:t>
            </a:r>
            <a:r>
              <a:rPr lang="en-US" sz="800" b="0" dirty="0" err="1"/>
              <a:t>Vernimen</a:t>
            </a:r>
            <a:r>
              <a:rPr lang="en-US" sz="800" b="0" dirty="0"/>
              <a:t>-Balk, Natalie </a:t>
            </a:r>
            <a:r>
              <a:rPr lang="en-US" sz="800" b="0" dirty="0" err="1"/>
              <a:t>Belew</a:t>
            </a:r>
            <a:r>
              <a:rPr lang="en-US" sz="800" b="0" dirty="0"/>
              <a:t>, and Claire </a:t>
            </a:r>
            <a:r>
              <a:rPr lang="en-US" sz="800" b="0" dirty="0" err="1"/>
              <a:t>Palandri</a:t>
            </a:r>
            <a:r>
              <a:rPr lang="en-US" sz="800" b="0" dirty="0"/>
              <a:t> (Data Collection</a:t>
            </a:r>
            <a:r>
              <a:rPr lang="en-US" sz="800" b="0" dirty="0" smtClean="0"/>
              <a:t>). </a:t>
            </a:r>
          </a:p>
          <a:p>
            <a:pPr algn="ctr">
              <a:spcBef>
                <a:spcPts val="0"/>
              </a:spcBef>
              <a:buClr>
                <a:srgbClr val="E48312"/>
              </a:buClr>
            </a:pPr>
            <a:r>
              <a:rPr lang="en-US" sz="800" i="1" dirty="0" smtClean="0"/>
              <a:t>All Rights Reserved.</a:t>
            </a:r>
          </a:p>
        </p:txBody>
      </p:sp>
      <p:sp>
        <p:nvSpPr>
          <p:cNvPr id="18" name="Content Placeholder 2"/>
          <p:cNvSpPr txBox="1">
            <a:spLocks/>
          </p:cNvSpPr>
          <p:nvPr/>
        </p:nvSpPr>
        <p:spPr>
          <a:xfrm>
            <a:off x="8529918" y="4329951"/>
            <a:ext cx="3545542" cy="12505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</a:pPr>
            <a:r>
              <a:rPr lang="en-US" sz="1400" i="1" dirty="0" smtClean="0">
                <a:solidFill>
                  <a:schemeClr val="accent5">
                    <a:lumMod val="75000"/>
                  </a:schemeClr>
                </a:solidFill>
              </a:rPr>
              <a:t>What next?</a:t>
            </a:r>
            <a:endParaRPr lang="en-US" sz="1400" i="1" dirty="0">
              <a:solidFill>
                <a:schemeClr val="accent5">
                  <a:lumMod val="75000"/>
                </a:schemeClr>
              </a:solidFill>
            </a:endParaRPr>
          </a:p>
          <a:p>
            <a:pPr marL="228600" indent="-228600"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1400" b="0" dirty="0" smtClean="0"/>
              <a:t>Collaboration </a:t>
            </a:r>
            <a:r>
              <a:rPr lang="en-US" sz="1400" b="0" dirty="0"/>
              <a:t>with </a:t>
            </a:r>
            <a:r>
              <a:rPr lang="en-US" sz="1400" b="0" dirty="0" smtClean="0"/>
              <a:t>regional/local </a:t>
            </a:r>
            <a:r>
              <a:rPr lang="en-US" sz="1400" b="0" dirty="0"/>
              <a:t>partners </a:t>
            </a:r>
            <a:r>
              <a:rPr lang="en-US" sz="1400" b="0" dirty="0" smtClean="0"/>
              <a:t>on </a:t>
            </a:r>
            <a:r>
              <a:rPr lang="en-US" sz="1400" b="0" dirty="0"/>
              <a:t>findings, </a:t>
            </a:r>
            <a:r>
              <a:rPr lang="en-US" sz="1400" b="0" dirty="0" smtClean="0"/>
              <a:t>enhancing use of climate </a:t>
            </a:r>
            <a:r>
              <a:rPr lang="en-US" sz="1400" b="0" dirty="0"/>
              <a:t>information </a:t>
            </a:r>
            <a:r>
              <a:rPr lang="en-US" sz="1400" b="0" dirty="0" smtClean="0"/>
              <a:t>in </a:t>
            </a:r>
            <a:r>
              <a:rPr lang="en-US" sz="1400" b="0" dirty="0"/>
              <a:t>critical step towards </a:t>
            </a:r>
            <a:r>
              <a:rPr lang="en-US" sz="1400" b="0" dirty="0" smtClean="0"/>
              <a:t>disaster preparedness and resilience building</a:t>
            </a:r>
            <a:endParaRPr lang="en-US" sz="1400" b="0" dirty="0"/>
          </a:p>
        </p:txBody>
      </p:sp>
    </p:spTree>
    <p:extLst>
      <p:ext uri="{BB962C8B-B14F-4D97-AF65-F5344CB8AC3E}">
        <p14:creationId xmlns:p14="http://schemas.microsoft.com/office/powerpoint/2010/main" val="1170758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 txBox="1">
            <a:spLocks/>
          </p:cNvSpPr>
          <p:nvPr/>
        </p:nvSpPr>
        <p:spPr>
          <a:xfrm>
            <a:off x="343825" y="5491970"/>
            <a:ext cx="11543376" cy="83384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spcBef>
                <a:spcPts val="0"/>
              </a:spcBef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1200" b="0" dirty="0">
                <a:solidFill>
                  <a:prstClr val="black"/>
                </a:solidFill>
              </a:rPr>
              <a:t>Source: EM-DAT: The Emergency Events Database - </a:t>
            </a:r>
            <a:r>
              <a:rPr lang="en-US" sz="1200" b="0" dirty="0" err="1">
                <a:solidFill>
                  <a:prstClr val="black"/>
                </a:solidFill>
              </a:rPr>
              <a:t>Universite</a:t>
            </a:r>
            <a:r>
              <a:rPr lang="en-US" sz="1200" b="0" dirty="0">
                <a:solidFill>
                  <a:prstClr val="black"/>
                </a:solidFill>
              </a:rPr>
              <a:t> </a:t>
            </a:r>
            <a:r>
              <a:rPr lang="en-US" sz="1200" b="0" dirty="0" err="1">
                <a:solidFill>
                  <a:prstClr val="black"/>
                </a:solidFill>
              </a:rPr>
              <a:t>catholique</a:t>
            </a:r>
            <a:r>
              <a:rPr lang="en-US" sz="1200" b="0" dirty="0">
                <a:solidFill>
                  <a:prstClr val="black"/>
                </a:solidFill>
              </a:rPr>
              <a:t> de Louvain (UCL) - CRED, D. </a:t>
            </a:r>
            <a:r>
              <a:rPr lang="en-US" sz="1200" b="0" dirty="0" err="1">
                <a:solidFill>
                  <a:prstClr val="black"/>
                </a:solidFill>
              </a:rPr>
              <a:t>Guha</a:t>
            </a:r>
            <a:r>
              <a:rPr lang="en-US" sz="1200" b="0" dirty="0">
                <a:solidFill>
                  <a:prstClr val="black"/>
                </a:solidFill>
              </a:rPr>
              <a:t>-Sapir - www.emdat.be, Brussels, </a:t>
            </a:r>
            <a:r>
              <a:rPr lang="en-US" sz="1200" b="0" dirty="0" smtClean="0">
                <a:solidFill>
                  <a:prstClr val="black"/>
                </a:solidFill>
              </a:rPr>
              <a:t>Belgium</a:t>
            </a:r>
          </a:p>
          <a:p>
            <a:pPr marL="228600" indent="-228600">
              <a:spcBef>
                <a:spcPts val="0"/>
              </a:spcBef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1200" b="0" dirty="0" smtClean="0">
                <a:solidFill>
                  <a:prstClr val="black"/>
                </a:solidFill>
              </a:rPr>
              <a:t>Last Database Update: January 30 2020</a:t>
            </a:r>
          </a:p>
          <a:p>
            <a:pPr marL="228600" indent="-228600">
              <a:spcBef>
                <a:spcPts val="0"/>
              </a:spcBef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1200" b="0" dirty="0" smtClean="0">
                <a:solidFill>
                  <a:prstClr val="black"/>
                </a:solidFill>
              </a:rPr>
              <a:t>Please refer to EM-DAT database for definitions of terms used.</a:t>
            </a:r>
          </a:p>
        </p:txBody>
      </p:sp>
      <p:sp>
        <p:nvSpPr>
          <p:cNvPr id="8" name="Rectangle 3" descr="© INSCALE GmbH, 05.05.2010&#10;http://www.presentationload.com/"/>
          <p:cNvSpPr>
            <a:spLocks noGrp="1" noChangeArrowheads="1"/>
          </p:cNvSpPr>
          <p:nvPr>
            <p:ph type="title"/>
          </p:nvPr>
        </p:nvSpPr>
        <p:spPr>
          <a:xfrm>
            <a:off x="330200" y="136800"/>
            <a:ext cx="11584517" cy="522000"/>
          </a:xfrm>
        </p:spPr>
        <p:txBody>
          <a:bodyPr/>
          <a:lstStyle/>
          <a:p>
            <a:r>
              <a:rPr lang="de-DE" dirty="0"/>
              <a:t>Disasters in the Caribbean (28 countries &amp; territories), </a:t>
            </a:r>
            <a:r>
              <a:rPr lang="de-DE" dirty="0" smtClean="0"/>
              <a:t>1990-2020 </a:t>
            </a:r>
            <a:r>
              <a:rPr lang="de-DE" b="0" dirty="0"/>
              <a:t>[EM-DAT]</a:t>
            </a:r>
            <a:endParaRPr lang="en-US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343824" y="6566308"/>
            <a:ext cx="8933543" cy="29894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E48312"/>
              </a:buClr>
            </a:pPr>
            <a:r>
              <a:rPr lang="en-US" sz="900" b="0" dirty="0" smtClean="0">
                <a:solidFill>
                  <a:prstClr val="black"/>
                </a:solidFill>
              </a:rPr>
              <a:t>EGU 2020: Denyse S. Dookie | More </a:t>
            </a:r>
            <a:r>
              <a:rPr lang="en-US" sz="900" b="0" dirty="0">
                <a:solidFill>
                  <a:prstClr val="black"/>
                </a:solidFill>
              </a:rPr>
              <a:t>than a Feeling: Using Climate Information to Understand and </a:t>
            </a:r>
            <a:r>
              <a:rPr lang="en-US" sz="900" b="0" dirty="0" smtClean="0">
                <a:solidFill>
                  <a:prstClr val="black"/>
                </a:solidFill>
              </a:rPr>
              <a:t>Communicate </a:t>
            </a:r>
            <a:r>
              <a:rPr lang="en-US" sz="900" b="0" dirty="0">
                <a:solidFill>
                  <a:prstClr val="black"/>
                </a:solidFill>
              </a:rPr>
              <a:t>Storm Risk in Caribbean Small </a:t>
            </a:r>
            <a:r>
              <a:rPr lang="en-US" sz="900" b="0" dirty="0" smtClean="0">
                <a:solidFill>
                  <a:prstClr val="black"/>
                </a:solidFill>
              </a:rPr>
              <a:t>Islands</a:t>
            </a:r>
            <a:endParaRPr lang="en-US" sz="900" b="0" dirty="0">
              <a:solidFill>
                <a:prstClr val="black"/>
              </a:solidFill>
            </a:endParaRPr>
          </a:p>
        </p:txBody>
      </p:sp>
      <p:sp>
        <p:nvSpPr>
          <p:cNvPr id="7" name="Content Placeholder 2">
            <a:hlinkClick r:id="rId3" action="ppaction://hlinksldjump" highlightClick="1"/>
          </p:cNvPr>
          <p:cNvSpPr txBox="1">
            <a:spLocks/>
          </p:cNvSpPr>
          <p:nvPr/>
        </p:nvSpPr>
        <p:spPr>
          <a:xfrm>
            <a:off x="10022268" y="6325815"/>
            <a:ext cx="2053618" cy="38996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  <a:buFont typeface="Wingdings" pitchFamily="2" charset="2"/>
              <a:buNone/>
            </a:pPr>
            <a:r>
              <a:rPr lang="en-US" i="1" dirty="0" smtClean="0">
                <a:solidFill>
                  <a:srgbClr val="2A79FF"/>
                </a:solidFill>
                <a:hlinkClick r:id="rId3" action="ppaction://hlinksldjump"/>
              </a:rPr>
              <a:t>Return to Main Slide</a:t>
            </a:r>
            <a:endParaRPr lang="en-US" i="1" dirty="0">
              <a:solidFill>
                <a:srgbClr val="2A79FF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69479" y="658798"/>
            <a:ext cx="9692068" cy="4774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515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824" y="146551"/>
            <a:ext cx="8675370" cy="6303645"/>
          </a:xfrm>
          <a:prstGeom prst="rect">
            <a:avLst/>
          </a:prstGeom>
          <a:noFill/>
        </p:spPr>
      </p:pic>
      <p:sp>
        <p:nvSpPr>
          <p:cNvPr id="3" name="Content Placeholder 2"/>
          <p:cNvSpPr txBox="1">
            <a:spLocks/>
          </p:cNvSpPr>
          <p:nvPr/>
        </p:nvSpPr>
        <p:spPr>
          <a:xfrm>
            <a:off x="9019194" y="146551"/>
            <a:ext cx="3056692" cy="6711449"/>
          </a:xfrm>
          <a:prstGeom prst="rect">
            <a:avLst/>
          </a:prstGeom>
        </p:spPr>
        <p:txBody>
          <a:bodyPr>
            <a:normAutofit fontScale="62500" lnSpcReduction="20000"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2900" b="0" u="sng" dirty="0" smtClean="0">
                <a:solidFill>
                  <a:prstClr val="black"/>
                </a:solidFill>
              </a:rPr>
              <a:t>Lead Time</a:t>
            </a:r>
            <a:r>
              <a:rPr lang="en-US" sz="2900" b="0" dirty="0" smtClean="0">
                <a:solidFill>
                  <a:prstClr val="black"/>
                </a:solidFill>
              </a:rPr>
              <a:t>: difference in hours between time at first issued storm advisory and time at approach or landfall</a:t>
            </a:r>
          </a:p>
          <a:p>
            <a:pPr marL="228600" indent="-2286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2900" b="0" dirty="0">
                <a:solidFill>
                  <a:prstClr val="black"/>
                </a:solidFill>
                <a:latin typeface="Calibri"/>
              </a:rPr>
              <a:t>Graph constructed of 384 records, in 14 Caribbean countries, over 1995-2015</a:t>
            </a:r>
          </a:p>
          <a:p>
            <a:pPr marL="228600" indent="-228600">
              <a:lnSpc>
                <a:spcPct val="120000"/>
              </a:lnSpc>
              <a:spcBef>
                <a:spcPts val="600"/>
              </a:spcBef>
              <a:spcAft>
                <a:spcPts val="3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2900" b="0" dirty="0" smtClean="0">
                <a:solidFill>
                  <a:prstClr val="black"/>
                </a:solidFill>
              </a:rPr>
              <a:t>Regional Average Lead Time: </a:t>
            </a:r>
            <a:r>
              <a:rPr lang="en-US" sz="2900" dirty="0" smtClean="0">
                <a:solidFill>
                  <a:prstClr val="black"/>
                </a:solidFill>
              </a:rPr>
              <a:t>21.8 hours</a:t>
            </a:r>
          </a:p>
          <a:p>
            <a:pPr marL="460375" lvl="3" indent="-231775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  <a:buFont typeface="Arial" panose="020B0604020202020204" pitchFamily="34" charset="0"/>
              <a:buChar char="•"/>
            </a:pPr>
            <a:r>
              <a:rPr lang="en-US" sz="2900" dirty="0">
                <a:solidFill>
                  <a:prstClr val="black"/>
                </a:solidFill>
              </a:rPr>
              <a:t>Average </a:t>
            </a:r>
            <a:r>
              <a:rPr lang="en-US" sz="2900" dirty="0" smtClean="0">
                <a:solidFill>
                  <a:prstClr val="black"/>
                </a:solidFill>
              </a:rPr>
              <a:t>slightly </a:t>
            </a:r>
            <a:r>
              <a:rPr lang="en-US" sz="2900" b="1" dirty="0" smtClean="0">
                <a:solidFill>
                  <a:prstClr val="black"/>
                </a:solidFill>
              </a:rPr>
              <a:t>increasing</a:t>
            </a:r>
            <a:r>
              <a:rPr lang="en-US" sz="2900" dirty="0" smtClean="0">
                <a:solidFill>
                  <a:prstClr val="black"/>
                </a:solidFill>
              </a:rPr>
              <a:t> over period</a:t>
            </a:r>
          </a:p>
          <a:p>
            <a:pPr marL="460375" lvl="3" indent="-231775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  <a:buFont typeface="Arial" panose="020B0604020202020204" pitchFamily="34" charset="0"/>
              <a:buChar char="•"/>
            </a:pPr>
            <a:r>
              <a:rPr lang="en-US" sz="2900" dirty="0" smtClean="0">
                <a:solidFill>
                  <a:schemeClr val="accent1"/>
                </a:solidFill>
                <a:hlinkClick r:id="rId3" action="ppaction://hlinksldjump"/>
              </a:rPr>
              <a:t>Click here</a:t>
            </a:r>
            <a:r>
              <a:rPr lang="en-US" sz="2900" dirty="0" smtClean="0">
                <a:solidFill>
                  <a:schemeClr val="accent1"/>
                </a:solidFill>
              </a:rPr>
              <a:t> </a:t>
            </a:r>
            <a:r>
              <a:rPr lang="en-US" sz="2900" dirty="0" smtClean="0">
                <a:solidFill>
                  <a:prstClr val="black"/>
                </a:solidFill>
              </a:rPr>
              <a:t>to see country average lead times</a:t>
            </a:r>
            <a:endParaRPr lang="en-US" sz="2900" dirty="0">
              <a:solidFill>
                <a:prstClr val="black"/>
              </a:solidFill>
            </a:endParaRPr>
          </a:p>
          <a:p>
            <a:pPr marL="228600" indent="-22860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2900" b="0" dirty="0" smtClean="0">
                <a:solidFill>
                  <a:prstClr val="black"/>
                </a:solidFill>
              </a:rPr>
              <a:t>Min. </a:t>
            </a:r>
            <a:r>
              <a:rPr lang="en-US" sz="2900" b="0" dirty="0">
                <a:solidFill>
                  <a:prstClr val="black"/>
                </a:solidFill>
              </a:rPr>
              <a:t>Lead Time: </a:t>
            </a:r>
            <a:r>
              <a:rPr lang="en-US" sz="2900" b="0" dirty="0" smtClean="0">
                <a:solidFill>
                  <a:prstClr val="black"/>
                </a:solidFill>
              </a:rPr>
              <a:t>0 </a:t>
            </a:r>
            <a:r>
              <a:rPr lang="en-US" sz="2900" b="0" dirty="0">
                <a:solidFill>
                  <a:prstClr val="black"/>
                </a:solidFill>
              </a:rPr>
              <a:t>hours </a:t>
            </a:r>
            <a:r>
              <a:rPr lang="en-US" sz="2900" b="0" dirty="0" smtClean="0">
                <a:solidFill>
                  <a:prstClr val="black"/>
                </a:solidFill>
              </a:rPr>
              <a:t>(133 events)</a:t>
            </a:r>
          </a:p>
          <a:p>
            <a:pPr marL="409575" lvl="2" indent="-2286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</a:pPr>
            <a:r>
              <a:rPr lang="en-US" sz="2600" dirty="0" smtClean="0">
                <a:solidFill>
                  <a:prstClr val="black"/>
                </a:solidFill>
              </a:rPr>
              <a:t>0-hour </a:t>
            </a:r>
            <a:r>
              <a:rPr lang="en-US" sz="2600" dirty="0">
                <a:solidFill>
                  <a:prstClr val="black"/>
                </a:solidFill>
              </a:rPr>
              <a:t>lead time </a:t>
            </a:r>
            <a:r>
              <a:rPr lang="en-US" sz="2600" dirty="0" smtClean="0">
                <a:solidFill>
                  <a:prstClr val="black"/>
                </a:solidFill>
              </a:rPr>
              <a:t>occurs if no </a:t>
            </a:r>
            <a:r>
              <a:rPr lang="en-US" sz="2600" dirty="0">
                <a:solidFill>
                  <a:prstClr val="black"/>
                </a:solidFill>
              </a:rPr>
              <a:t>advisory issued, but </a:t>
            </a:r>
            <a:r>
              <a:rPr lang="en-US" sz="2600" dirty="0" smtClean="0">
                <a:solidFill>
                  <a:prstClr val="black"/>
                </a:solidFill>
              </a:rPr>
              <a:t>still storm approach or landfall</a:t>
            </a:r>
          </a:p>
          <a:p>
            <a:pPr marL="409575" lvl="2" indent="-2286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</a:pPr>
            <a:r>
              <a:rPr lang="en-US" sz="2600" dirty="0">
                <a:solidFill>
                  <a:schemeClr val="accent1"/>
                </a:solidFill>
                <a:latin typeface="Calibri"/>
                <a:hlinkClick r:id="rId4" action="ppaction://hlinksldjump"/>
              </a:rPr>
              <a:t>Click here</a:t>
            </a:r>
            <a:r>
              <a:rPr lang="en-US" sz="2600" dirty="0">
                <a:solidFill>
                  <a:schemeClr val="accent1"/>
                </a:solidFill>
                <a:latin typeface="Calibri"/>
              </a:rPr>
              <a:t> </a:t>
            </a:r>
            <a:r>
              <a:rPr lang="en-US" sz="2600" dirty="0">
                <a:solidFill>
                  <a:prstClr val="black"/>
                </a:solidFill>
                <a:latin typeface="Calibri"/>
              </a:rPr>
              <a:t>for Graph without 0-hour lead </a:t>
            </a:r>
            <a:r>
              <a:rPr lang="en-US" sz="2600" dirty="0" smtClean="0">
                <a:solidFill>
                  <a:prstClr val="black"/>
                </a:solidFill>
                <a:latin typeface="Calibri"/>
              </a:rPr>
              <a:t>time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343824" y="6566308"/>
            <a:ext cx="8933543" cy="29894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E48312"/>
              </a:buClr>
            </a:pPr>
            <a:r>
              <a:rPr lang="en-US" sz="900" b="0" dirty="0" smtClean="0">
                <a:solidFill>
                  <a:prstClr val="black"/>
                </a:solidFill>
              </a:rPr>
              <a:t>EGU 2020: Denyse S. Dookie | </a:t>
            </a:r>
            <a:r>
              <a:rPr lang="en-US" sz="900" b="0" dirty="0" smtClean="0"/>
              <a:t>More </a:t>
            </a:r>
            <a:r>
              <a:rPr lang="en-US" sz="900" b="0" dirty="0"/>
              <a:t>than a Feeling: Using Climate Information to Understand and </a:t>
            </a:r>
            <a:r>
              <a:rPr lang="en-US" sz="900" b="0" dirty="0" smtClean="0"/>
              <a:t>Communicate </a:t>
            </a:r>
            <a:r>
              <a:rPr lang="en-US" sz="900" b="0" dirty="0"/>
              <a:t>Storm Risk in Caribbean Small </a:t>
            </a:r>
            <a:r>
              <a:rPr lang="en-US" sz="900" b="0" dirty="0" smtClean="0"/>
              <a:t>Islands</a:t>
            </a:r>
            <a:endParaRPr lang="en-US" sz="900" b="0" dirty="0">
              <a:solidFill>
                <a:prstClr val="black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965576" y="5782235"/>
            <a:ext cx="2053618" cy="389966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  <a:buNone/>
            </a:pPr>
            <a:r>
              <a:rPr lang="en-US" sz="900" i="1" dirty="0"/>
              <a:t>Note that </a:t>
            </a:r>
            <a:r>
              <a:rPr lang="en-US" sz="900" i="1" dirty="0" err="1"/>
              <a:t>colours</a:t>
            </a:r>
            <a:r>
              <a:rPr lang="en-US" sz="900" i="1" dirty="0"/>
              <a:t> are visual aids </a:t>
            </a:r>
            <a:r>
              <a:rPr lang="en-US" sz="900" i="1" dirty="0" smtClean="0"/>
              <a:t>only and </a:t>
            </a:r>
            <a:r>
              <a:rPr lang="en-US" sz="900" i="1" dirty="0"/>
              <a:t>do not represent further details </a:t>
            </a:r>
          </a:p>
        </p:txBody>
      </p:sp>
      <p:sp>
        <p:nvSpPr>
          <p:cNvPr id="7" name="Content Placeholder 2">
            <a:hlinkClick r:id="rId5" action="ppaction://hlinksldjump" highlightClick="1"/>
          </p:cNvPr>
          <p:cNvSpPr txBox="1">
            <a:spLocks/>
          </p:cNvSpPr>
          <p:nvPr/>
        </p:nvSpPr>
        <p:spPr>
          <a:xfrm>
            <a:off x="10022268" y="6325815"/>
            <a:ext cx="2053618" cy="38996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  <a:buNone/>
            </a:pPr>
            <a:r>
              <a:rPr lang="en-US" i="1" dirty="0" smtClean="0">
                <a:solidFill>
                  <a:schemeClr val="accent1"/>
                </a:solidFill>
                <a:hlinkClick r:id="rId5" action="ppaction://hlinksldjump"/>
              </a:rPr>
              <a:t>Return to Main Slide</a:t>
            </a:r>
            <a:endParaRPr lang="en-US" i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6185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 txBox="1">
            <a:spLocks/>
          </p:cNvSpPr>
          <p:nvPr/>
        </p:nvSpPr>
        <p:spPr>
          <a:xfrm>
            <a:off x="9019193" y="146551"/>
            <a:ext cx="3042177" cy="630364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spcBef>
                <a:spcPts val="600"/>
              </a:spcBef>
              <a:spcAft>
                <a:spcPts val="6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1800" b="0" u="sng" dirty="0" smtClean="0"/>
              <a:t>Lead Time</a:t>
            </a:r>
            <a:r>
              <a:rPr lang="en-US" sz="1800" b="0" dirty="0" smtClean="0"/>
              <a:t>: difference in hours between time at first issued storm advisory and time at approach or landfall</a:t>
            </a:r>
          </a:p>
          <a:p>
            <a:pPr marL="228600" indent="-228600">
              <a:spcBef>
                <a:spcPts val="600"/>
              </a:spcBef>
              <a:spcAft>
                <a:spcPts val="6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1800" b="0" dirty="0" smtClean="0"/>
              <a:t>Graph constructed of 251 records, in 14 Caribbean countries, over 1995-2015</a:t>
            </a:r>
          </a:p>
          <a:p>
            <a:pPr marL="228600" indent="-228600">
              <a:spcBef>
                <a:spcPts val="600"/>
              </a:spcBef>
              <a:spcAft>
                <a:spcPts val="3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1800" b="0" dirty="0"/>
              <a:t>Range: 0.5 – 141 </a:t>
            </a:r>
            <a:r>
              <a:rPr lang="en-US" sz="1800" b="0" dirty="0" smtClean="0"/>
              <a:t>hours</a:t>
            </a:r>
          </a:p>
          <a:p>
            <a:pPr marL="409575" lvl="2" indent="-228600">
              <a:spcBef>
                <a:spcPts val="600"/>
              </a:spcBef>
              <a:spcAft>
                <a:spcPts val="300"/>
              </a:spcAft>
              <a:buClr>
                <a:srgbClr val="E48312"/>
              </a:buClr>
            </a:pPr>
            <a:r>
              <a:rPr lang="en-US" b="0" dirty="0" smtClean="0"/>
              <a:t>No 0-hour lead time included. Note: </a:t>
            </a:r>
            <a:r>
              <a:rPr lang="en-US" dirty="0">
                <a:solidFill>
                  <a:prstClr val="black"/>
                </a:solidFill>
              </a:rPr>
              <a:t>0-hour lead time </a:t>
            </a:r>
            <a:r>
              <a:rPr lang="en-US" dirty="0" smtClean="0">
                <a:solidFill>
                  <a:prstClr val="black"/>
                </a:solidFill>
              </a:rPr>
              <a:t>occurs if </a:t>
            </a:r>
            <a:r>
              <a:rPr lang="en-US" dirty="0">
                <a:solidFill>
                  <a:prstClr val="black"/>
                </a:solidFill>
              </a:rPr>
              <a:t>no advisory issued, but still </a:t>
            </a:r>
            <a:r>
              <a:rPr lang="en-US" dirty="0" smtClean="0">
                <a:solidFill>
                  <a:prstClr val="black"/>
                </a:solidFill>
              </a:rPr>
              <a:t>storm approach or landfall</a:t>
            </a:r>
            <a:endParaRPr lang="en-US" dirty="0">
              <a:solidFill>
                <a:prstClr val="black"/>
              </a:solidFill>
            </a:endParaRPr>
          </a:p>
          <a:p>
            <a:pPr marL="228600" indent="-228600">
              <a:spcBef>
                <a:spcPts val="600"/>
              </a:spcBef>
              <a:spcAft>
                <a:spcPts val="3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1800" b="0" dirty="0" smtClean="0"/>
              <a:t>Regional Average Lead Time: </a:t>
            </a:r>
            <a:r>
              <a:rPr lang="en-US" sz="1800" dirty="0" smtClean="0"/>
              <a:t>33.4 hours</a:t>
            </a:r>
          </a:p>
          <a:p>
            <a:pPr marL="460375" lvl="3" indent="-231775">
              <a:spcBef>
                <a:spcPts val="300"/>
              </a:spcBef>
              <a:spcAft>
                <a:spcPts val="600"/>
              </a:spcAft>
              <a:buClr>
                <a:srgbClr val="E48312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Average </a:t>
            </a:r>
            <a:r>
              <a:rPr lang="en-US" sz="1800" dirty="0" smtClean="0"/>
              <a:t>slightly </a:t>
            </a:r>
            <a:r>
              <a:rPr lang="en-US" sz="1800" b="1" dirty="0" smtClean="0"/>
              <a:t>decreasing</a:t>
            </a:r>
            <a:r>
              <a:rPr lang="en-US" sz="1800" dirty="0" smtClean="0"/>
              <a:t> over period</a:t>
            </a:r>
            <a:endParaRPr lang="en-US" sz="1800" b="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3834" y="146551"/>
            <a:ext cx="8675360" cy="6297714"/>
          </a:xfrm>
          <a:prstGeom prst="rect">
            <a:avLst/>
          </a:prstGeom>
        </p:spPr>
      </p:pic>
      <p:sp>
        <p:nvSpPr>
          <p:cNvPr id="4" name="Content Placeholder 2"/>
          <p:cNvSpPr txBox="1">
            <a:spLocks/>
          </p:cNvSpPr>
          <p:nvPr/>
        </p:nvSpPr>
        <p:spPr>
          <a:xfrm>
            <a:off x="343824" y="6566308"/>
            <a:ext cx="8933543" cy="29894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E48312"/>
              </a:buClr>
            </a:pPr>
            <a:r>
              <a:rPr lang="en-US" sz="900" b="0" dirty="0" smtClean="0">
                <a:solidFill>
                  <a:prstClr val="black"/>
                </a:solidFill>
              </a:rPr>
              <a:t>EGU 2020: Denyse S. Dookie | </a:t>
            </a:r>
            <a:r>
              <a:rPr lang="en-US" sz="900" b="0" dirty="0" smtClean="0"/>
              <a:t>More </a:t>
            </a:r>
            <a:r>
              <a:rPr lang="en-US" sz="900" b="0" dirty="0"/>
              <a:t>than a Feeling: Using Climate Information to Understand and </a:t>
            </a:r>
            <a:r>
              <a:rPr lang="en-US" sz="900" b="0" dirty="0" smtClean="0"/>
              <a:t>Communicate </a:t>
            </a:r>
            <a:r>
              <a:rPr lang="en-US" sz="900" b="0" dirty="0"/>
              <a:t>Storm Risk in Caribbean Small </a:t>
            </a:r>
            <a:r>
              <a:rPr lang="en-US" sz="900" b="0" dirty="0" smtClean="0"/>
              <a:t>Islands</a:t>
            </a:r>
            <a:endParaRPr lang="en-US" sz="900" b="0" dirty="0">
              <a:solidFill>
                <a:prstClr val="black"/>
              </a:solidFill>
            </a:endParaRPr>
          </a:p>
        </p:txBody>
      </p:sp>
      <p:sp>
        <p:nvSpPr>
          <p:cNvPr id="5" name="Content Placeholder 2">
            <a:hlinkClick r:id="rId3" action="ppaction://hlinksldjump" highlightClick="1"/>
          </p:cNvPr>
          <p:cNvSpPr txBox="1">
            <a:spLocks/>
          </p:cNvSpPr>
          <p:nvPr/>
        </p:nvSpPr>
        <p:spPr>
          <a:xfrm>
            <a:off x="10022268" y="6325815"/>
            <a:ext cx="2053618" cy="38996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  <a:buNone/>
            </a:pPr>
            <a:r>
              <a:rPr lang="en-US" i="1" dirty="0" smtClean="0">
                <a:solidFill>
                  <a:schemeClr val="accent1"/>
                </a:solidFill>
                <a:hlinkClick r:id="rId3" action="ppaction://hlinksldjump"/>
              </a:rPr>
              <a:t>Return to Main Slide</a:t>
            </a:r>
            <a:endParaRPr lang="en-US" i="1" dirty="0">
              <a:solidFill>
                <a:schemeClr val="accent1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965576" y="5782235"/>
            <a:ext cx="2053618" cy="389966"/>
          </a:xfrm>
          <a:prstGeom prst="rect">
            <a:avLst/>
          </a:prstGeom>
        </p:spPr>
        <p:txBody>
          <a:bodyPr>
            <a:normAutofit fontScale="92500"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  <a:buNone/>
            </a:pPr>
            <a:r>
              <a:rPr lang="en-US" sz="900" i="1" dirty="0"/>
              <a:t>Note that </a:t>
            </a:r>
            <a:r>
              <a:rPr lang="en-US" sz="900" i="1" dirty="0" err="1"/>
              <a:t>colours</a:t>
            </a:r>
            <a:r>
              <a:rPr lang="en-US" sz="900" i="1" dirty="0"/>
              <a:t> are visual aids </a:t>
            </a:r>
            <a:r>
              <a:rPr lang="en-US" sz="900" i="1" dirty="0" smtClean="0"/>
              <a:t>only and </a:t>
            </a:r>
            <a:r>
              <a:rPr lang="en-US" sz="900" i="1" dirty="0"/>
              <a:t>do not represent further details </a:t>
            </a:r>
          </a:p>
        </p:txBody>
      </p:sp>
    </p:spTree>
    <p:extLst>
      <p:ext uri="{BB962C8B-B14F-4D97-AF65-F5344CB8AC3E}">
        <p14:creationId xmlns:p14="http://schemas.microsoft.com/office/powerpoint/2010/main" val="388701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 txBox="1">
            <a:spLocks/>
          </p:cNvSpPr>
          <p:nvPr/>
        </p:nvSpPr>
        <p:spPr>
          <a:xfrm>
            <a:off x="9019194" y="728663"/>
            <a:ext cx="2868006" cy="54578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spcBef>
                <a:spcPts val="600"/>
              </a:spcBef>
              <a:spcAft>
                <a:spcPts val="6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2000" b="0" dirty="0" smtClean="0"/>
              <a:t>Lead Time: difference in hours between time at first issued storm advisory and time at approach/landfall</a:t>
            </a:r>
          </a:p>
          <a:p>
            <a:pPr marL="228600" indent="-228600">
              <a:spcBef>
                <a:spcPts val="600"/>
              </a:spcBef>
              <a:spcAft>
                <a:spcPts val="6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2000" b="0" dirty="0" smtClean="0"/>
              <a:t>Table of 384 events,   14 selected Caribbean countries*, 1995-2015</a:t>
            </a:r>
          </a:p>
          <a:p>
            <a:pPr marL="228600" indent="-228600">
              <a:spcBef>
                <a:spcPts val="600"/>
              </a:spcBef>
              <a:spcAft>
                <a:spcPts val="6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2000" b="0" dirty="0" smtClean="0"/>
              <a:t>Regional Average Lead Time: </a:t>
            </a:r>
            <a:r>
              <a:rPr lang="en-US" sz="2000" dirty="0" smtClean="0"/>
              <a:t>21.8 hours</a:t>
            </a:r>
          </a:p>
          <a:p>
            <a:pPr marL="228600" indent="-228600">
              <a:spcBef>
                <a:spcPts val="600"/>
              </a:spcBef>
              <a:spcAft>
                <a:spcPts val="6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2000" b="0" dirty="0" smtClean="0">
                <a:hlinkClick r:id="rId3" action="ppaction://hlinksldjump"/>
              </a:rPr>
              <a:t>Click here</a:t>
            </a:r>
            <a:r>
              <a:rPr lang="en-US" sz="2000" b="0" dirty="0" smtClean="0"/>
              <a:t> for an illustration of these country differences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E48312"/>
              </a:buClr>
            </a:pPr>
            <a:endParaRPr lang="en-US" sz="1200" b="0" dirty="0" smtClean="0"/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E48312"/>
              </a:buClr>
            </a:pPr>
            <a:r>
              <a:rPr lang="en-US" sz="1200" b="0" dirty="0" smtClean="0"/>
              <a:t>* Country selection based on available economic data and autonomy</a:t>
            </a:r>
          </a:p>
        </p:txBody>
      </p:sp>
      <p:sp>
        <p:nvSpPr>
          <p:cNvPr id="8" name="Rectangle 3" descr="© INSCALE GmbH, 05.05.2010&#10;http://www.presentationload.com/"/>
          <p:cNvSpPr>
            <a:spLocks noGrp="1" noChangeArrowheads="1"/>
          </p:cNvSpPr>
          <p:nvPr>
            <p:ph type="title"/>
          </p:nvPr>
        </p:nvSpPr>
        <p:spPr>
          <a:xfrm>
            <a:off x="330200" y="136800"/>
            <a:ext cx="11584517" cy="522000"/>
          </a:xfrm>
        </p:spPr>
        <p:txBody>
          <a:bodyPr/>
          <a:lstStyle/>
          <a:p>
            <a:r>
              <a:rPr lang="de-DE" dirty="0"/>
              <a:t>Summary Statistics of Storm </a:t>
            </a:r>
            <a:r>
              <a:rPr lang="de-DE" dirty="0" smtClean="0"/>
              <a:t>Approach </a:t>
            </a:r>
            <a:r>
              <a:rPr lang="de-DE" dirty="0"/>
              <a:t>Lead </a:t>
            </a:r>
            <a:r>
              <a:rPr lang="de-DE" dirty="0" smtClean="0"/>
              <a:t>Times, by Country (incl. 0-hr lead)</a:t>
            </a:r>
            <a:endParaRPr lang="en-US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343824" y="6566308"/>
            <a:ext cx="8933543" cy="29894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E48312"/>
              </a:buClr>
            </a:pPr>
            <a:r>
              <a:rPr lang="en-US" sz="900" b="0" dirty="0" smtClean="0">
                <a:solidFill>
                  <a:prstClr val="black"/>
                </a:solidFill>
              </a:rPr>
              <a:t>EGU 2020: Denyse S. Dookie | </a:t>
            </a:r>
            <a:r>
              <a:rPr lang="en-US" sz="900" b="0" dirty="0" smtClean="0"/>
              <a:t>More </a:t>
            </a:r>
            <a:r>
              <a:rPr lang="en-US" sz="900" b="0" dirty="0"/>
              <a:t>than a Feeling: Using Climate Information to Understand and </a:t>
            </a:r>
            <a:r>
              <a:rPr lang="en-US" sz="900" b="0" dirty="0" smtClean="0"/>
              <a:t>Communicate </a:t>
            </a:r>
            <a:r>
              <a:rPr lang="en-US" sz="900" b="0" dirty="0"/>
              <a:t>Storm Risk in Caribbean Small </a:t>
            </a:r>
            <a:r>
              <a:rPr lang="en-US" sz="900" b="0" dirty="0" smtClean="0"/>
              <a:t>Islands</a:t>
            </a:r>
            <a:endParaRPr lang="en-US" sz="900" b="0" dirty="0">
              <a:solidFill>
                <a:prstClr val="black"/>
              </a:solidFill>
            </a:endParaRPr>
          </a:p>
        </p:txBody>
      </p:sp>
      <p:sp>
        <p:nvSpPr>
          <p:cNvPr id="7" name="Content Placeholder 2">
            <a:hlinkClick r:id="rId4" action="ppaction://hlinksldjump" highlightClick="1"/>
          </p:cNvPr>
          <p:cNvSpPr txBox="1">
            <a:spLocks/>
          </p:cNvSpPr>
          <p:nvPr/>
        </p:nvSpPr>
        <p:spPr>
          <a:xfrm>
            <a:off x="10022268" y="6325815"/>
            <a:ext cx="2053618" cy="38996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  <a:buNone/>
            </a:pPr>
            <a:r>
              <a:rPr lang="en-US" i="1" dirty="0" smtClean="0">
                <a:solidFill>
                  <a:schemeClr val="accent1"/>
                </a:solidFill>
                <a:hlinkClick r:id="rId4" action="ppaction://hlinksldjump"/>
              </a:rPr>
              <a:t>Return to Main Slide</a:t>
            </a:r>
            <a:endParaRPr lang="en-US" i="1" dirty="0">
              <a:solidFill>
                <a:schemeClr val="accent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3823" y="658799"/>
            <a:ext cx="8666939" cy="5325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15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9587" name="Rectangle 3" descr="© INSCALE GmbH, 05.05.2010&#10;http://www.presentationload.com/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torm Lead Times in the Caribbean, weighted by number of storms</a:t>
            </a:r>
            <a:endParaRPr lang="de-DE" noProof="1"/>
          </a:p>
        </p:txBody>
      </p:sp>
      <p:grpSp>
        <p:nvGrpSpPr>
          <p:cNvPr id="2" name="Group 1"/>
          <p:cNvGrpSpPr/>
          <p:nvPr/>
        </p:nvGrpSpPr>
        <p:grpSpPr>
          <a:xfrm>
            <a:off x="330200" y="658800"/>
            <a:ext cx="9144116" cy="5585320"/>
            <a:chOff x="1524001" y="567666"/>
            <a:chExt cx="9144116" cy="5585320"/>
          </a:xfrm>
        </p:grpSpPr>
        <p:sp>
          <p:nvSpPr>
            <p:cNvPr id="528" name="Rechteck 527"/>
            <p:cNvSpPr/>
            <p:nvPr/>
          </p:nvSpPr>
          <p:spPr>
            <a:xfrm>
              <a:off x="1524117" y="665506"/>
              <a:ext cx="9144000" cy="5472112"/>
            </a:xfrm>
            <a:prstGeom prst="rect">
              <a:avLst/>
            </a:prstGeom>
            <a:gradFill flip="none" rotWithShape="1">
              <a:gsLst>
                <a:gs pos="100000">
                  <a:srgbClr val="CFDEF1"/>
                </a:gs>
                <a:gs pos="0">
                  <a:srgbClr val="F7FAFF"/>
                </a:gs>
              </a:gsLst>
              <a:path path="circle">
                <a:fillToRect l="50000" t="50000" r="50000" b="50000"/>
              </a:path>
              <a:tileRect/>
            </a:gra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prstClr val="white"/>
                </a:solidFill>
              </a:endParaRPr>
            </a:p>
          </p:txBody>
        </p:sp>
        <p:grpSp>
          <p:nvGrpSpPr>
            <p:cNvPr id="5" name="Gruppieren 4"/>
            <p:cNvGrpSpPr/>
            <p:nvPr/>
          </p:nvGrpSpPr>
          <p:grpSpPr>
            <a:xfrm>
              <a:off x="1524001" y="567666"/>
              <a:ext cx="7296763" cy="5585320"/>
              <a:chOff x="0" y="567666"/>
              <a:chExt cx="7296763" cy="5585320"/>
            </a:xfrm>
          </p:grpSpPr>
          <p:grpSp>
            <p:nvGrpSpPr>
              <p:cNvPr id="358" name="Gruppieren 357"/>
              <p:cNvGrpSpPr/>
              <p:nvPr/>
            </p:nvGrpSpPr>
            <p:grpSpPr>
              <a:xfrm>
                <a:off x="117" y="567666"/>
                <a:ext cx="7296646" cy="5585320"/>
                <a:chOff x="-30062" y="544564"/>
                <a:chExt cx="7391400" cy="5657851"/>
              </a:xfrm>
            </p:grpSpPr>
            <p:grpSp>
              <p:nvGrpSpPr>
                <p:cNvPr id="359" name="Gruppieren 358"/>
                <p:cNvGrpSpPr/>
                <p:nvPr/>
              </p:nvGrpSpPr>
              <p:grpSpPr>
                <a:xfrm>
                  <a:off x="1190750" y="544564"/>
                  <a:ext cx="6170588" cy="5313363"/>
                  <a:chOff x="1220812" y="66675"/>
                  <a:chExt cx="6170588" cy="5313363"/>
                </a:xfrm>
                <a:gradFill>
                  <a:gsLst>
                    <a:gs pos="0">
                      <a:schemeClr val="bg1">
                        <a:lumMod val="85000"/>
                      </a:schemeClr>
                    </a:gs>
                    <a:gs pos="100000">
                      <a:srgbClr val="9D9D9D"/>
                    </a:gs>
                  </a:gsLst>
                  <a:path path="circle">
                    <a:fillToRect r="100000" b="100000"/>
                  </a:path>
                </a:gradFill>
                <a:effectLst>
                  <a:outerShdw blurRad="127000" dist="50800" dir="2700000" algn="tl" rotWithShape="0">
                    <a:prstClr val="black">
                      <a:alpha val="40000"/>
                    </a:prstClr>
                  </a:outerShdw>
                </a:effectLst>
              </p:grpSpPr>
              <p:sp>
                <p:nvSpPr>
                  <p:cNvPr id="377" name="Freeform 1102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6783388" y="5159375"/>
                    <a:ext cx="261938" cy="220663"/>
                  </a:xfrm>
                  <a:custGeom>
                    <a:avLst/>
                    <a:gdLst/>
                    <a:ahLst/>
                    <a:cxnLst>
                      <a:cxn ang="0">
                        <a:pos x="0" y="137"/>
                      </a:cxn>
                      <a:cxn ang="0">
                        <a:pos x="47" y="113"/>
                      </a:cxn>
                      <a:cxn ang="0">
                        <a:pos x="71" y="113"/>
                      </a:cxn>
                      <a:cxn ang="0">
                        <a:pos x="71" y="54"/>
                      </a:cxn>
                      <a:cxn ang="0">
                        <a:pos x="89" y="49"/>
                      </a:cxn>
                      <a:cxn ang="0">
                        <a:pos x="89" y="21"/>
                      </a:cxn>
                      <a:cxn ang="0">
                        <a:pos x="113" y="23"/>
                      </a:cxn>
                      <a:cxn ang="0">
                        <a:pos x="151" y="0"/>
                      </a:cxn>
                      <a:cxn ang="0">
                        <a:pos x="165" y="23"/>
                      </a:cxn>
                      <a:cxn ang="0">
                        <a:pos x="156" y="40"/>
                      </a:cxn>
                      <a:cxn ang="0">
                        <a:pos x="156" y="116"/>
                      </a:cxn>
                      <a:cxn ang="0">
                        <a:pos x="148" y="127"/>
                      </a:cxn>
                      <a:cxn ang="0">
                        <a:pos x="118" y="139"/>
                      </a:cxn>
                      <a:cxn ang="0">
                        <a:pos x="0" y="137"/>
                      </a:cxn>
                    </a:cxnLst>
                    <a:rect l="0" t="0" r="r" b="b"/>
                    <a:pathLst>
                      <a:path w="165" h="139">
                        <a:moveTo>
                          <a:pt x="0" y="137"/>
                        </a:moveTo>
                        <a:lnTo>
                          <a:pt x="47" y="113"/>
                        </a:lnTo>
                        <a:lnTo>
                          <a:pt x="71" y="113"/>
                        </a:lnTo>
                        <a:lnTo>
                          <a:pt x="71" y="54"/>
                        </a:lnTo>
                        <a:lnTo>
                          <a:pt x="89" y="49"/>
                        </a:lnTo>
                        <a:lnTo>
                          <a:pt x="89" y="21"/>
                        </a:lnTo>
                        <a:lnTo>
                          <a:pt x="113" y="23"/>
                        </a:lnTo>
                        <a:lnTo>
                          <a:pt x="151" y="0"/>
                        </a:lnTo>
                        <a:lnTo>
                          <a:pt x="165" y="23"/>
                        </a:lnTo>
                        <a:lnTo>
                          <a:pt x="156" y="40"/>
                        </a:lnTo>
                        <a:lnTo>
                          <a:pt x="156" y="116"/>
                        </a:lnTo>
                        <a:lnTo>
                          <a:pt x="148" y="127"/>
                        </a:lnTo>
                        <a:lnTo>
                          <a:pt x="118" y="139"/>
                        </a:lnTo>
                        <a:lnTo>
                          <a:pt x="0" y="137"/>
                        </a:lnTo>
                        <a:close/>
                      </a:path>
                    </a:pathLst>
                  </a:custGeom>
                  <a:solidFill>
                    <a:srgbClr val="660066"/>
                  </a:solidFill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78" name="Freeform 1223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4818063" y="4618038"/>
                    <a:ext cx="46037" cy="71438"/>
                  </a:xfrm>
                  <a:custGeom>
                    <a:avLst/>
                    <a:gdLst/>
                    <a:ahLst/>
                    <a:cxnLst>
                      <a:cxn ang="0">
                        <a:pos x="26" y="43"/>
                      </a:cxn>
                      <a:cxn ang="0">
                        <a:pos x="26" y="43"/>
                      </a:cxn>
                      <a:cxn ang="0">
                        <a:pos x="24" y="40"/>
                      </a:cxn>
                      <a:cxn ang="0">
                        <a:pos x="24" y="40"/>
                      </a:cxn>
                      <a:cxn ang="0">
                        <a:pos x="24" y="40"/>
                      </a:cxn>
                      <a:cxn ang="0">
                        <a:pos x="21" y="40"/>
                      </a:cxn>
                      <a:cxn ang="0">
                        <a:pos x="21" y="40"/>
                      </a:cxn>
                      <a:cxn ang="0">
                        <a:pos x="19" y="38"/>
                      </a:cxn>
                      <a:cxn ang="0">
                        <a:pos x="17" y="38"/>
                      </a:cxn>
                      <a:cxn ang="0">
                        <a:pos x="17" y="38"/>
                      </a:cxn>
                      <a:cxn ang="0">
                        <a:pos x="17" y="36"/>
                      </a:cxn>
                      <a:cxn ang="0">
                        <a:pos x="12" y="31"/>
                      </a:cxn>
                      <a:cxn ang="0">
                        <a:pos x="10" y="26"/>
                      </a:cxn>
                      <a:cxn ang="0">
                        <a:pos x="5" y="24"/>
                      </a:cxn>
                      <a:cxn ang="0">
                        <a:pos x="3" y="19"/>
                      </a:cxn>
                      <a:cxn ang="0">
                        <a:pos x="0" y="17"/>
                      </a:cxn>
                      <a:cxn ang="0">
                        <a:pos x="0" y="17"/>
                      </a:cxn>
                      <a:cxn ang="0">
                        <a:pos x="3" y="12"/>
                      </a:cxn>
                      <a:cxn ang="0">
                        <a:pos x="3" y="12"/>
                      </a:cxn>
                      <a:cxn ang="0">
                        <a:pos x="3" y="10"/>
                      </a:cxn>
                      <a:cxn ang="0">
                        <a:pos x="3" y="10"/>
                      </a:cxn>
                      <a:cxn ang="0">
                        <a:pos x="3" y="7"/>
                      </a:cxn>
                      <a:cxn ang="0">
                        <a:pos x="3" y="7"/>
                      </a:cxn>
                      <a:cxn ang="0">
                        <a:pos x="3" y="5"/>
                      </a:cxn>
                      <a:cxn ang="0">
                        <a:pos x="3" y="5"/>
                      </a:cxn>
                      <a:cxn ang="0">
                        <a:pos x="0" y="3"/>
                      </a:cxn>
                      <a:cxn ang="0">
                        <a:pos x="0" y="0"/>
                      </a:cxn>
                      <a:cxn ang="0">
                        <a:pos x="3" y="0"/>
                      </a:cxn>
                      <a:cxn ang="0">
                        <a:pos x="3" y="3"/>
                      </a:cxn>
                      <a:cxn ang="0">
                        <a:pos x="7" y="5"/>
                      </a:cxn>
                      <a:cxn ang="0">
                        <a:pos x="7" y="5"/>
                      </a:cxn>
                      <a:cxn ang="0">
                        <a:pos x="7" y="7"/>
                      </a:cxn>
                      <a:cxn ang="0">
                        <a:pos x="10" y="10"/>
                      </a:cxn>
                      <a:cxn ang="0">
                        <a:pos x="10" y="14"/>
                      </a:cxn>
                      <a:cxn ang="0">
                        <a:pos x="10" y="14"/>
                      </a:cxn>
                      <a:cxn ang="0">
                        <a:pos x="14" y="17"/>
                      </a:cxn>
                      <a:cxn ang="0">
                        <a:pos x="17" y="19"/>
                      </a:cxn>
                      <a:cxn ang="0">
                        <a:pos x="19" y="22"/>
                      </a:cxn>
                      <a:cxn ang="0">
                        <a:pos x="21" y="24"/>
                      </a:cxn>
                      <a:cxn ang="0">
                        <a:pos x="24" y="26"/>
                      </a:cxn>
                      <a:cxn ang="0">
                        <a:pos x="24" y="29"/>
                      </a:cxn>
                      <a:cxn ang="0">
                        <a:pos x="26" y="31"/>
                      </a:cxn>
                      <a:cxn ang="0">
                        <a:pos x="26" y="31"/>
                      </a:cxn>
                      <a:cxn ang="0">
                        <a:pos x="26" y="36"/>
                      </a:cxn>
                      <a:cxn ang="0">
                        <a:pos x="28" y="40"/>
                      </a:cxn>
                      <a:cxn ang="0">
                        <a:pos x="28" y="43"/>
                      </a:cxn>
                      <a:cxn ang="0">
                        <a:pos x="28" y="43"/>
                      </a:cxn>
                      <a:cxn ang="0">
                        <a:pos x="26" y="43"/>
                      </a:cxn>
                      <a:cxn ang="0">
                        <a:pos x="26" y="43"/>
                      </a:cxn>
                      <a:cxn ang="0">
                        <a:pos x="26" y="43"/>
                      </a:cxn>
                    </a:cxnLst>
                    <a:rect l="0" t="0" r="r" b="b"/>
                    <a:pathLst>
                      <a:path w="28" h="43">
                        <a:moveTo>
                          <a:pt x="26" y="43"/>
                        </a:moveTo>
                        <a:lnTo>
                          <a:pt x="26" y="43"/>
                        </a:lnTo>
                        <a:lnTo>
                          <a:pt x="26" y="43"/>
                        </a:lnTo>
                        <a:lnTo>
                          <a:pt x="26" y="43"/>
                        </a:lnTo>
                        <a:lnTo>
                          <a:pt x="26" y="43"/>
                        </a:lnTo>
                        <a:lnTo>
                          <a:pt x="24" y="40"/>
                        </a:lnTo>
                        <a:lnTo>
                          <a:pt x="24" y="40"/>
                        </a:lnTo>
                        <a:lnTo>
                          <a:pt x="24" y="40"/>
                        </a:lnTo>
                        <a:lnTo>
                          <a:pt x="24" y="40"/>
                        </a:lnTo>
                        <a:lnTo>
                          <a:pt x="24" y="40"/>
                        </a:lnTo>
                        <a:lnTo>
                          <a:pt x="24" y="40"/>
                        </a:lnTo>
                        <a:lnTo>
                          <a:pt x="21" y="40"/>
                        </a:lnTo>
                        <a:lnTo>
                          <a:pt x="21" y="40"/>
                        </a:lnTo>
                        <a:lnTo>
                          <a:pt x="21" y="40"/>
                        </a:lnTo>
                        <a:lnTo>
                          <a:pt x="21" y="40"/>
                        </a:lnTo>
                        <a:lnTo>
                          <a:pt x="19" y="38"/>
                        </a:lnTo>
                        <a:lnTo>
                          <a:pt x="19" y="38"/>
                        </a:lnTo>
                        <a:lnTo>
                          <a:pt x="17" y="38"/>
                        </a:lnTo>
                        <a:lnTo>
                          <a:pt x="17" y="38"/>
                        </a:lnTo>
                        <a:lnTo>
                          <a:pt x="17" y="38"/>
                        </a:lnTo>
                        <a:lnTo>
                          <a:pt x="17" y="38"/>
                        </a:lnTo>
                        <a:lnTo>
                          <a:pt x="17" y="36"/>
                        </a:lnTo>
                        <a:lnTo>
                          <a:pt x="17" y="36"/>
                        </a:lnTo>
                        <a:lnTo>
                          <a:pt x="12" y="31"/>
                        </a:lnTo>
                        <a:lnTo>
                          <a:pt x="12" y="31"/>
                        </a:lnTo>
                        <a:lnTo>
                          <a:pt x="10" y="26"/>
                        </a:lnTo>
                        <a:lnTo>
                          <a:pt x="10" y="26"/>
                        </a:lnTo>
                        <a:lnTo>
                          <a:pt x="5" y="24"/>
                        </a:lnTo>
                        <a:lnTo>
                          <a:pt x="5" y="24"/>
                        </a:lnTo>
                        <a:lnTo>
                          <a:pt x="3" y="19"/>
                        </a:lnTo>
                        <a:lnTo>
                          <a:pt x="3" y="19"/>
                        </a:lnTo>
                        <a:lnTo>
                          <a:pt x="0" y="17"/>
                        </a:lnTo>
                        <a:lnTo>
                          <a:pt x="0" y="17"/>
                        </a:lnTo>
                        <a:lnTo>
                          <a:pt x="0" y="17"/>
                        </a:lnTo>
                        <a:lnTo>
                          <a:pt x="0" y="17"/>
                        </a:lnTo>
                        <a:lnTo>
                          <a:pt x="3" y="12"/>
                        </a:lnTo>
                        <a:lnTo>
                          <a:pt x="3" y="12"/>
                        </a:lnTo>
                        <a:lnTo>
                          <a:pt x="3" y="12"/>
                        </a:lnTo>
                        <a:lnTo>
                          <a:pt x="3" y="12"/>
                        </a:lnTo>
                        <a:lnTo>
                          <a:pt x="3" y="10"/>
                        </a:lnTo>
                        <a:lnTo>
                          <a:pt x="3" y="10"/>
                        </a:lnTo>
                        <a:lnTo>
                          <a:pt x="3" y="10"/>
                        </a:lnTo>
                        <a:lnTo>
                          <a:pt x="3" y="10"/>
                        </a:lnTo>
                        <a:lnTo>
                          <a:pt x="3" y="7"/>
                        </a:lnTo>
                        <a:lnTo>
                          <a:pt x="3" y="7"/>
                        </a:lnTo>
                        <a:lnTo>
                          <a:pt x="3" y="7"/>
                        </a:lnTo>
                        <a:lnTo>
                          <a:pt x="3" y="7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7" y="5"/>
                        </a:lnTo>
                        <a:lnTo>
                          <a:pt x="7" y="5"/>
                        </a:lnTo>
                        <a:lnTo>
                          <a:pt x="7" y="5"/>
                        </a:lnTo>
                        <a:lnTo>
                          <a:pt x="7" y="5"/>
                        </a:lnTo>
                        <a:lnTo>
                          <a:pt x="7" y="7"/>
                        </a:lnTo>
                        <a:lnTo>
                          <a:pt x="7" y="7"/>
                        </a:lnTo>
                        <a:lnTo>
                          <a:pt x="10" y="10"/>
                        </a:lnTo>
                        <a:lnTo>
                          <a:pt x="10" y="10"/>
                        </a:lnTo>
                        <a:lnTo>
                          <a:pt x="10" y="14"/>
                        </a:lnTo>
                        <a:lnTo>
                          <a:pt x="10" y="14"/>
                        </a:lnTo>
                        <a:lnTo>
                          <a:pt x="10" y="14"/>
                        </a:lnTo>
                        <a:lnTo>
                          <a:pt x="10" y="14"/>
                        </a:lnTo>
                        <a:lnTo>
                          <a:pt x="14" y="17"/>
                        </a:lnTo>
                        <a:lnTo>
                          <a:pt x="14" y="17"/>
                        </a:lnTo>
                        <a:lnTo>
                          <a:pt x="17" y="19"/>
                        </a:lnTo>
                        <a:lnTo>
                          <a:pt x="17" y="19"/>
                        </a:lnTo>
                        <a:lnTo>
                          <a:pt x="19" y="22"/>
                        </a:lnTo>
                        <a:lnTo>
                          <a:pt x="19" y="22"/>
                        </a:lnTo>
                        <a:lnTo>
                          <a:pt x="21" y="24"/>
                        </a:lnTo>
                        <a:lnTo>
                          <a:pt x="21" y="24"/>
                        </a:lnTo>
                        <a:lnTo>
                          <a:pt x="24" y="26"/>
                        </a:lnTo>
                        <a:lnTo>
                          <a:pt x="24" y="26"/>
                        </a:lnTo>
                        <a:lnTo>
                          <a:pt x="24" y="29"/>
                        </a:lnTo>
                        <a:lnTo>
                          <a:pt x="24" y="29"/>
                        </a:lnTo>
                        <a:lnTo>
                          <a:pt x="26" y="31"/>
                        </a:lnTo>
                        <a:lnTo>
                          <a:pt x="26" y="31"/>
                        </a:lnTo>
                        <a:lnTo>
                          <a:pt x="26" y="31"/>
                        </a:lnTo>
                        <a:lnTo>
                          <a:pt x="26" y="31"/>
                        </a:lnTo>
                        <a:lnTo>
                          <a:pt x="26" y="36"/>
                        </a:lnTo>
                        <a:lnTo>
                          <a:pt x="26" y="36"/>
                        </a:lnTo>
                        <a:lnTo>
                          <a:pt x="28" y="40"/>
                        </a:lnTo>
                        <a:lnTo>
                          <a:pt x="28" y="40"/>
                        </a:lnTo>
                        <a:lnTo>
                          <a:pt x="28" y="43"/>
                        </a:lnTo>
                        <a:lnTo>
                          <a:pt x="28" y="43"/>
                        </a:lnTo>
                        <a:lnTo>
                          <a:pt x="28" y="43"/>
                        </a:lnTo>
                        <a:lnTo>
                          <a:pt x="28" y="43"/>
                        </a:lnTo>
                        <a:lnTo>
                          <a:pt x="26" y="43"/>
                        </a:lnTo>
                        <a:lnTo>
                          <a:pt x="26" y="43"/>
                        </a:lnTo>
                        <a:lnTo>
                          <a:pt x="26" y="43"/>
                        </a:lnTo>
                        <a:lnTo>
                          <a:pt x="26" y="43"/>
                        </a:lnTo>
                        <a:lnTo>
                          <a:pt x="26" y="43"/>
                        </a:lnTo>
                        <a:lnTo>
                          <a:pt x="26" y="43"/>
                        </a:lnTo>
                        <a:close/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79" name="Freeform 1224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5035550" y="4697413"/>
                    <a:ext cx="103187" cy="111125"/>
                  </a:xfrm>
                  <a:custGeom>
                    <a:avLst/>
                    <a:gdLst/>
                    <a:ahLst/>
                    <a:cxnLst>
                      <a:cxn ang="0">
                        <a:pos x="40" y="60"/>
                      </a:cxn>
                      <a:cxn ang="0">
                        <a:pos x="36" y="57"/>
                      </a:cxn>
                      <a:cxn ang="0">
                        <a:pos x="33" y="55"/>
                      </a:cxn>
                      <a:cxn ang="0">
                        <a:pos x="28" y="52"/>
                      </a:cxn>
                      <a:cxn ang="0">
                        <a:pos x="28" y="52"/>
                      </a:cxn>
                      <a:cxn ang="0">
                        <a:pos x="24" y="48"/>
                      </a:cxn>
                      <a:cxn ang="0">
                        <a:pos x="21" y="41"/>
                      </a:cxn>
                      <a:cxn ang="0">
                        <a:pos x="19" y="38"/>
                      </a:cxn>
                      <a:cxn ang="0">
                        <a:pos x="19" y="38"/>
                      </a:cxn>
                      <a:cxn ang="0">
                        <a:pos x="17" y="38"/>
                      </a:cxn>
                      <a:cxn ang="0">
                        <a:pos x="17" y="38"/>
                      </a:cxn>
                      <a:cxn ang="0">
                        <a:pos x="17" y="38"/>
                      </a:cxn>
                      <a:cxn ang="0">
                        <a:pos x="14" y="41"/>
                      </a:cxn>
                      <a:cxn ang="0">
                        <a:pos x="12" y="36"/>
                      </a:cxn>
                      <a:cxn ang="0">
                        <a:pos x="12" y="34"/>
                      </a:cxn>
                      <a:cxn ang="0">
                        <a:pos x="10" y="31"/>
                      </a:cxn>
                      <a:cxn ang="0">
                        <a:pos x="5" y="24"/>
                      </a:cxn>
                      <a:cxn ang="0">
                        <a:pos x="2" y="22"/>
                      </a:cxn>
                      <a:cxn ang="0">
                        <a:pos x="2" y="19"/>
                      </a:cxn>
                      <a:cxn ang="0">
                        <a:pos x="2" y="17"/>
                      </a:cxn>
                      <a:cxn ang="0">
                        <a:pos x="2" y="17"/>
                      </a:cxn>
                      <a:cxn ang="0">
                        <a:pos x="2" y="15"/>
                      </a:cxn>
                      <a:cxn ang="0">
                        <a:pos x="2" y="12"/>
                      </a:cxn>
                      <a:cxn ang="0">
                        <a:pos x="2" y="12"/>
                      </a:cxn>
                      <a:cxn ang="0">
                        <a:pos x="0" y="5"/>
                      </a:cxn>
                      <a:cxn ang="0">
                        <a:pos x="0" y="0"/>
                      </a:cxn>
                      <a:cxn ang="0">
                        <a:pos x="2" y="0"/>
                      </a:cxn>
                      <a:cxn ang="0">
                        <a:pos x="5" y="3"/>
                      </a:cxn>
                      <a:cxn ang="0">
                        <a:pos x="12" y="8"/>
                      </a:cxn>
                      <a:cxn ang="0">
                        <a:pos x="14" y="8"/>
                      </a:cxn>
                      <a:cxn ang="0">
                        <a:pos x="17" y="12"/>
                      </a:cxn>
                      <a:cxn ang="0">
                        <a:pos x="17" y="19"/>
                      </a:cxn>
                      <a:cxn ang="0">
                        <a:pos x="17" y="22"/>
                      </a:cxn>
                      <a:cxn ang="0">
                        <a:pos x="19" y="24"/>
                      </a:cxn>
                      <a:cxn ang="0">
                        <a:pos x="19" y="29"/>
                      </a:cxn>
                      <a:cxn ang="0">
                        <a:pos x="24" y="34"/>
                      </a:cxn>
                      <a:cxn ang="0">
                        <a:pos x="28" y="38"/>
                      </a:cxn>
                      <a:cxn ang="0">
                        <a:pos x="38" y="41"/>
                      </a:cxn>
                      <a:cxn ang="0">
                        <a:pos x="38" y="41"/>
                      </a:cxn>
                      <a:cxn ang="0">
                        <a:pos x="38" y="41"/>
                      </a:cxn>
                      <a:cxn ang="0">
                        <a:pos x="45" y="41"/>
                      </a:cxn>
                      <a:cxn ang="0">
                        <a:pos x="50" y="45"/>
                      </a:cxn>
                      <a:cxn ang="0">
                        <a:pos x="52" y="50"/>
                      </a:cxn>
                      <a:cxn ang="0">
                        <a:pos x="52" y="50"/>
                      </a:cxn>
                      <a:cxn ang="0">
                        <a:pos x="52" y="50"/>
                      </a:cxn>
                      <a:cxn ang="0">
                        <a:pos x="54" y="55"/>
                      </a:cxn>
                      <a:cxn ang="0">
                        <a:pos x="59" y="62"/>
                      </a:cxn>
                      <a:cxn ang="0">
                        <a:pos x="61" y="64"/>
                      </a:cxn>
                      <a:cxn ang="0">
                        <a:pos x="61" y="64"/>
                      </a:cxn>
                      <a:cxn ang="0">
                        <a:pos x="54" y="67"/>
                      </a:cxn>
                      <a:cxn ang="0">
                        <a:pos x="50" y="67"/>
                      </a:cxn>
                    </a:cxnLst>
                    <a:rect l="0" t="0" r="r" b="b"/>
                    <a:pathLst>
                      <a:path w="61" h="67">
                        <a:moveTo>
                          <a:pt x="50" y="67"/>
                        </a:moveTo>
                        <a:lnTo>
                          <a:pt x="45" y="62"/>
                        </a:lnTo>
                        <a:lnTo>
                          <a:pt x="45" y="62"/>
                        </a:lnTo>
                        <a:lnTo>
                          <a:pt x="40" y="60"/>
                        </a:lnTo>
                        <a:lnTo>
                          <a:pt x="40" y="60"/>
                        </a:lnTo>
                        <a:lnTo>
                          <a:pt x="40" y="60"/>
                        </a:lnTo>
                        <a:lnTo>
                          <a:pt x="40" y="60"/>
                        </a:lnTo>
                        <a:lnTo>
                          <a:pt x="36" y="57"/>
                        </a:lnTo>
                        <a:lnTo>
                          <a:pt x="36" y="57"/>
                        </a:lnTo>
                        <a:lnTo>
                          <a:pt x="33" y="55"/>
                        </a:lnTo>
                        <a:lnTo>
                          <a:pt x="33" y="55"/>
                        </a:lnTo>
                        <a:lnTo>
                          <a:pt x="33" y="55"/>
                        </a:lnTo>
                        <a:lnTo>
                          <a:pt x="33" y="55"/>
                        </a:lnTo>
                        <a:lnTo>
                          <a:pt x="31" y="52"/>
                        </a:lnTo>
                        <a:lnTo>
                          <a:pt x="31" y="52"/>
                        </a:lnTo>
                        <a:lnTo>
                          <a:pt x="28" y="52"/>
                        </a:lnTo>
                        <a:lnTo>
                          <a:pt x="28" y="52"/>
                        </a:lnTo>
                        <a:lnTo>
                          <a:pt x="28" y="52"/>
                        </a:lnTo>
                        <a:lnTo>
                          <a:pt x="28" y="52"/>
                        </a:lnTo>
                        <a:lnTo>
                          <a:pt x="28" y="52"/>
                        </a:lnTo>
                        <a:lnTo>
                          <a:pt x="28" y="52"/>
                        </a:lnTo>
                        <a:lnTo>
                          <a:pt x="24" y="48"/>
                        </a:lnTo>
                        <a:lnTo>
                          <a:pt x="24" y="48"/>
                        </a:lnTo>
                        <a:lnTo>
                          <a:pt x="24" y="48"/>
                        </a:lnTo>
                        <a:lnTo>
                          <a:pt x="24" y="48"/>
                        </a:lnTo>
                        <a:lnTo>
                          <a:pt x="24" y="45"/>
                        </a:lnTo>
                        <a:lnTo>
                          <a:pt x="24" y="45"/>
                        </a:lnTo>
                        <a:lnTo>
                          <a:pt x="21" y="41"/>
                        </a:lnTo>
                        <a:lnTo>
                          <a:pt x="21" y="41"/>
                        </a:lnTo>
                        <a:lnTo>
                          <a:pt x="19" y="38"/>
                        </a:lnTo>
                        <a:lnTo>
                          <a:pt x="19" y="38"/>
                        </a:lnTo>
                        <a:lnTo>
                          <a:pt x="19" y="38"/>
                        </a:lnTo>
                        <a:lnTo>
                          <a:pt x="19" y="38"/>
                        </a:lnTo>
                        <a:lnTo>
                          <a:pt x="19" y="38"/>
                        </a:lnTo>
                        <a:lnTo>
                          <a:pt x="19" y="38"/>
                        </a:lnTo>
                        <a:lnTo>
                          <a:pt x="19" y="38"/>
                        </a:lnTo>
                        <a:lnTo>
                          <a:pt x="19" y="38"/>
                        </a:lnTo>
                        <a:lnTo>
                          <a:pt x="19" y="38"/>
                        </a:lnTo>
                        <a:lnTo>
                          <a:pt x="19" y="38"/>
                        </a:lnTo>
                        <a:lnTo>
                          <a:pt x="17" y="38"/>
                        </a:lnTo>
                        <a:lnTo>
                          <a:pt x="17" y="38"/>
                        </a:lnTo>
                        <a:lnTo>
                          <a:pt x="17" y="38"/>
                        </a:lnTo>
                        <a:lnTo>
                          <a:pt x="17" y="38"/>
                        </a:lnTo>
                        <a:lnTo>
                          <a:pt x="17" y="38"/>
                        </a:lnTo>
                        <a:lnTo>
                          <a:pt x="17" y="38"/>
                        </a:lnTo>
                        <a:lnTo>
                          <a:pt x="17" y="38"/>
                        </a:lnTo>
                        <a:lnTo>
                          <a:pt x="17" y="38"/>
                        </a:lnTo>
                        <a:lnTo>
                          <a:pt x="17" y="38"/>
                        </a:lnTo>
                        <a:lnTo>
                          <a:pt x="17" y="38"/>
                        </a:lnTo>
                        <a:lnTo>
                          <a:pt x="14" y="41"/>
                        </a:lnTo>
                        <a:lnTo>
                          <a:pt x="14" y="41"/>
                        </a:lnTo>
                        <a:lnTo>
                          <a:pt x="14" y="41"/>
                        </a:lnTo>
                        <a:lnTo>
                          <a:pt x="14" y="41"/>
                        </a:lnTo>
                        <a:lnTo>
                          <a:pt x="12" y="36"/>
                        </a:lnTo>
                        <a:lnTo>
                          <a:pt x="12" y="36"/>
                        </a:lnTo>
                        <a:lnTo>
                          <a:pt x="12" y="36"/>
                        </a:lnTo>
                        <a:lnTo>
                          <a:pt x="12" y="36"/>
                        </a:lnTo>
                        <a:lnTo>
                          <a:pt x="12" y="34"/>
                        </a:lnTo>
                        <a:lnTo>
                          <a:pt x="12" y="34"/>
                        </a:lnTo>
                        <a:lnTo>
                          <a:pt x="12" y="34"/>
                        </a:lnTo>
                        <a:lnTo>
                          <a:pt x="12" y="34"/>
                        </a:lnTo>
                        <a:lnTo>
                          <a:pt x="12" y="34"/>
                        </a:lnTo>
                        <a:lnTo>
                          <a:pt x="12" y="34"/>
                        </a:lnTo>
                        <a:lnTo>
                          <a:pt x="10" y="31"/>
                        </a:lnTo>
                        <a:lnTo>
                          <a:pt x="10" y="31"/>
                        </a:lnTo>
                        <a:lnTo>
                          <a:pt x="5" y="24"/>
                        </a:lnTo>
                        <a:lnTo>
                          <a:pt x="5" y="24"/>
                        </a:lnTo>
                        <a:lnTo>
                          <a:pt x="5" y="24"/>
                        </a:lnTo>
                        <a:lnTo>
                          <a:pt x="5" y="24"/>
                        </a:lnTo>
                        <a:lnTo>
                          <a:pt x="5" y="22"/>
                        </a:lnTo>
                        <a:lnTo>
                          <a:pt x="5" y="22"/>
                        </a:lnTo>
                        <a:lnTo>
                          <a:pt x="2" y="22"/>
                        </a:lnTo>
                        <a:lnTo>
                          <a:pt x="2" y="22"/>
                        </a:lnTo>
                        <a:lnTo>
                          <a:pt x="2" y="19"/>
                        </a:lnTo>
                        <a:lnTo>
                          <a:pt x="2" y="19"/>
                        </a:lnTo>
                        <a:lnTo>
                          <a:pt x="2" y="19"/>
                        </a:lnTo>
                        <a:lnTo>
                          <a:pt x="2" y="19"/>
                        </a:lnTo>
                        <a:lnTo>
                          <a:pt x="2" y="17"/>
                        </a:lnTo>
                        <a:lnTo>
                          <a:pt x="2" y="17"/>
                        </a:lnTo>
                        <a:lnTo>
                          <a:pt x="2" y="17"/>
                        </a:lnTo>
                        <a:lnTo>
                          <a:pt x="2" y="17"/>
                        </a:lnTo>
                        <a:lnTo>
                          <a:pt x="2" y="17"/>
                        </a:lnTo>
                        <a:lnTo>
                          <a:pt x="2" y="17"/>
                        </a:lnTo>
                        <a:lnTo>
                          <a:pt x="2" y="17"/>
                        </a:lnTo>
                        <a:lnTo>
                          <a:pt x="2" y="17"/>
                        </a:lnTo>
                        <a:lnTo>
                          <a:pt x="2" y="15"/>
                        </a:lnTo>
                        <a:lnTo>
                          <a:pt x="2" y="15"/>
                        </a:lnTo>
                        <a:lnTo>
                          <a:pt x="2" y="15"/>
                        </a:lnTo>
                        <a:lnTo>
                          <a:pt x="2" y="15"/>
                        </a:lnTo>
                        <a:lnTo>
                          <a:pt x="2" y="15"/>
                        </a:lnTo>
                        <a:lnTo>
                          <a:pt x="2" y="15"/>
                        </a:lnTo>
                        <a:lnTo>
                          <a:pt x="2" y="12"/>
                        </a:lnTo>
                        <a:lnTo>
                          <a:pt x="2" y="12"/>
                        </a:lnTo>
                        <a:lnTo>
                          <a:pt x="2" y="12"/>
                        </a:lnTo>
                        <a:lnTo>
                          <a:pt x="2" y="12"/>
                        </a:lnTo>
                        <a:lnTo>
                          <a:pt x="2" y="12"/>
                        </a:lnTo>
                        <a:lnTo>
                          <a:pt x="2" y="12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5" y="3"/>
                        </a:lnTo>
                        <a:lnTo>
                          <a:pt x="5" y="3"/>
                        </a:lnTo>
                        <a:lnTo>
                          <a:pt x="5" y="3"/>
                        </a:lnTo>
                        <a:lnTo>
                          <a:pt x="5" y="3"/>
                        </a:lnTo>
                        <a:lnTo>
                          <a:pt x="10" y="5"/>
                        </a:lnTo>
                        <a:lnTo>
                          <a:pt x="10" y="5"/>
                        </a:lnTo>
                        <a:lnTo>
                          <a:pt x="12" y="8"/>
                        </a:lnTo>
                        <a:lnTo>
                          <a:pt x="12" y="8"/>
                        </a:lnTo>
                        <a:lnTo>
                          <a:pt x="12" y="8"/>
                        </a:lnTo>
                        <a:lnTo>
                          <a:pt x="12" y="8"/>
                        </a:lnTo>
                        <a:lnTo>
                          <a:pt x="14" y="8"/>
                        </a:lnTo>
                        <a:lnTo>
                          <a:pt x="14" y="8"/>
                        </a:lnTo>
                        <a:lnTo>
                          <a:pt x="14" y="8"/>
                        </a:lnTo>
                        <a:lnTo>
                          <a:pt x="14" y="8"/>
                        </a:lnTo>
                        <a:lnTo>
                          <a:pt x="17" y="12"/>
                        </a:lnTo>
                        <a:lnTo>
                          <a:pt x="17" y="12"/>
                        </a:lnTo>
                        <a:lnTo>
                          <a:pt x="17" y="17"/>
                        </a:lnTo>
                        <a:lnTo>
                          <a:pt x="17" y="17"/>
                        </a:lnTo>
                        <a:lnTo>
                          <a:pt x="17" y="19"/>
                        </a:lnTo>
                        <a:lnTo>
                          <a:pt x="17" y="19"/>
                        </a:lnTo>
                        <a:lnTo>
                          <a:pt x="17" y="19"/>
                        </a:lnTo>
                        <a:lnTo>
                          <a:pt x="17" y="19"/>
                        </a:lnTo>
                        <a:lnTo>
                          <a:pt x="17" y="22"/>
                        </a:lnTo>
                        <a:lnTo>
                          <a:pt x="17" y="22"/>
                        </a:lnTo>
                        <a:lnTo>
                          <a:pt x="17" y="24"/>
                        </a:lnTo>
                        <a:lnTo>
                          <a:pt x="17" y="24"/>
                        </a:lnTo>
                        <a:lnTo>
                          <a:pt x="19" y="24"/>
                        </a:lnTo>
                        <a:lnTo>
                          <a:pt x="19" y="24"/>
                        </a:lnTo>
                        <a:lnTo>
                          <a:pt x="19" y="26"/>
                        </a:lnTo>
                        <a:lnTo>
                          <a:pt x="19" y="26"/>
                        </a:lnTo>
                        <a:lnTo>
                          <a:pt x="19" y="29"/>
                        </a:lnTo>
                        <a:lnTo>
                          <a:pt x="19" y="29"/>
                        </a:lnTo>
                        <a:lnTo>
                          <a:pt x="21" y="31"/>
                        </a:lnTo>
                        <a:lnTo>
                          <a:pt x="21" y="31"/>
                        </a:lnTo>
                        <a:lnTo>
                          <a:pt x="24" y="34"/>
                        </a:lnTo>
                        <a:lnTo>
                          <a:pt x="24" y="34"/>
                        </a:lnTo>
                        <a:lnTo>
                          <a:pt x="26" y="36"/>
                        </a:lnTo>
                        <a:lnTo>
                          <a:pt x="26" y="36"/>
                        </a:lnTo>
                        <a:lnTo>
                          <a:pt x="28" y="38"/>
                        </a:lnTo>
                        <a:lnTo>
                          <a:pt x="28" y="38"/>
                        </a:lnTo>
                        <a:lnTo>
                          <a:pt x="31" y="38"/>
                        </a:lnTo>
                        <a:lnTo>
                          <a:pt x="31" y="38"/>
                        </a:lnTo>
                        <a:lnTo>
                          <a:pt x="38" y="41"/>
                        </a:lnTo>
                        <a:lnTo>
                          <a:pt x="38" y="41"/>
                        </a:lnTo>
                        <a:lnTo>
                          <a:pt x="38" y="41"/>
                        </a:lnTo>
                        <a:lnTo>
                          <a:pt x="38" y="41"/>
                        </a:lnTo>
                        <a:lnTo>
                          <a:pt x="38" y="41"/>
                        </a:lnTo>
                        <a:lnTo>
                          <a:pt x="38" y="41"/>
                        </a:lnTo>
                        <a:lnTo>
                          <a:pt x="38" y="41"/>
                        </a:lnTo>
                        <a:lnTo>
                          <a:pt x="38" y="41"/>
                        </a:lnTo>
                        <a:lnTo>
                          <a:pt x="38" y="41"/>
                        </a:lnTo>
                        <a:lnTo>
                          <a:pt x="38" y="41"/>
                        </a:lnTo>
                        <a:lnTo>
                          <a:pt x="40" y="41"/>
                        </a:lnTo>
                        <a:lnTo>
                          <a:pt x="40" y="41"/>
                        </a:lnTo>
                        <a:lnTo>
                          <a:pt x="45" y="41"/>
                        </a:lnTo>
                        <a:lnTo>
                          <a:pt x="45" y="41"/>
                        </a:lnTo>
                        <a:lnTo>
                          <a:pt x="45" y="43"/>
                        </a:lnTo>
                        <a:lnTo>
                          <a:pt x="45" y="43"/>
                        </a:lnTo>
                        <a:lnTo>
                          <a:pt x="50" y="45"/>
                        </a:lnTo>
                        <a:lnTo>
                          <a:pt x="50" y="45"/>
                        </a:lnTo>
                        <a:lnTo>
                          <a:pt x="52" y="48"/>
                        </a:lnTo>
                        <a:lnTo>
                          <a:pt x="52" y="48"/>
                        </a:lnTo>
                        <a:lnTo>
                          <a:pt x="52" y="50"/>
                        </a:lnTo>
                        <a:lnTo>
                          <a:pt x="52" y="50"/>
                        </a:lnTo>
                        <a:lnTo>
                          <a:pt x="52" y="50"/>
                        </a:lnTo>
                        <a:lnTo>
                          <a:pt x="52" y="50"/>
                        </a:lnTo>
                        <a:lnTo>
                          <a:pt x="52" y="50"/>
                        </a:lnTo>
                        <a:lnTo>
                          <a:pt x="52" y="50"/>
                        </a:lnTo>
                        <a:lnTo>
                          <a:pt x="52" y="50"/>
                        </a:lnTo>
                        <a:lnTo>
                          <a:pt x="52" y="50"/>
                        </a:lnTo>
                        <a:lnTo>
                          <a:pt x="52" y="50"/>
                        </a:lnTo>
                        <a:lnTo>
                          <a:pt x="52" y="50"/>
                        </a:lnTo>
                        <a:lnTo>
                          <a:pt x="52" y="52"/>
                        </a:lnTo>
                        <a:lnTo>
                          <a:pt x="52" y="52"/>
                        </a:lnTo>
                        <a:lnTo>
                          <a:pt x="54" y="55"/>
                        </a:lnTo>
                        <a:lnTo>
                          <a:pt x="54" y="55"/>
                        </a:lnTo>
                        <a:lnTo>
                          <a:pt x="59" y="60"/>
                        </a:lnTo>
                        <a:lnTo>
                          <a:pt x="59" y="60"/>
                        </a:lnTo>
                        <a:lnTo>
                          <a:pt x="59" y="62"/>
                        </a:lnTo>
                        <a:lnTo>
                          <a:pt x="59" y="62"/>
                        </a:lnTo>
                        <a:lnTo>
                          <a:pt x="59" y="62"/>
                        </a:lnTo>
                        <a:lnTo>
                          <a:pt x="59" y="62"/>
                        </a:lnTo>
                        <a:lnTo>
                          <a:pt x="61" y="64"/>
                        </a:lnTo>
                        <a:lnTo>
                          <a:pt x="61" y="64"/>
                        </a:lnTo>
                        <a:lnTo>
                          <a:pt x="61" y="64"/>
                        </a:lnTo>
                        <a:lnTo>
                          <a:pt x="61" y="64"/>
                        </a:lnTo>
                        <a:lnTo>
                          <a:pt x="61" y="64"/>
                        </a:lnTo>
                        <a:lnTo>
                          <a:pt x="61" y="64"/>
                        </a:lnTo>
                        <a:lnTo>
                          <a:pt x="61" y="67"/>
                        </a:lnTo>
                        <a:lnTo>
                          <a:pt x="61" y="67"/>
                        </a:lnTo>
                        <a:lnTo>
                          <a:pt x="54" y="67"/>
                        </a:lnTo>
                        <a:lnTo>
                          <a:pt x="54" y="67"/>
                        </a:lnTo>
                        <a:lnTo>
                          <a:pt x="54" y="67"/>
                        </a:lnTo>
                        <a:lnTo>
                          <a:pt x="54" y="67"/>
                        </a:lnTo>
                        <a:lnTo>
                          <a:pt x="50" y="67"/>
                        </a:lnTo>
                        <a:lnTo>
                          <a:pt x="50" y="67"/>
                        </a:lnTo>
                        <a:lnTo>
                          <a:pt x="50" y="67"/>
                        </a:lnTo>
                        <a:lnTo>
                          <a:pt x="50" y="67"/>
                        </a:lnTo>
                        <a:close/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80" name="Freeform 1225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5218113" y="4722813"/>
                    <a:ext cx="50800" cy="88900"/>
                  </a:xfrm>
                  <a:custGeom>
                    <a:avLst/>
                    <a:gdLst/>
                    <a:ahLst/>
                    <a:cxnLst>
                      <a:cxn ang="0">
                        <a:pos x="21" y="52"/>
                      </a:cxn>
                      <a:cxn ang="0">
                        <a:pos x="19" y="49"/>
                      </a:cxn>
                      <a:cxn ang="0">
                        <a:pos x="19" y="45"/>
                      </a:cxn>
                      <a:cxn ang="0">
                        <a:pos x="19" y="42"/>
                      </a:cxn>
                      <a:cxn ang="0">
                        <a:pos x="19" y="42"/>
                      </a:cxn>
                      <a:cxn ang="0">
                        <a:pos x="16" y="37"/>
                      </a:cxn>
                      <a:cxn ang="0">
                        <a:pos x="19" y="35"/>
                      </a:cxn>
                      <a:cxn ang="0">
                        <a:pos x="19" y="33"/>
                      </a:cxn>
                      <a:cxn ang="0">
                        <a:pos x="19" y="33"/>
                      </a:cxn>
                      <a:cxn ang="0">
                        <a:pos x="19" y="30"/>
                      </a:cxn>
                      <a:cxn ang="0">
                        <a:pos x="19" y="30"/>
                      </a:cxn>
                      <a:cxn ang="0">
                        <a:pos x="19" y="30"/>
                      </a:cxn>
                      <a:cxn ang="0">
                        <a:pos x="16" y="30"/>
                      </a:cxn>
                      <a:cxn ang="0">
                        <a:pos x="16" y="30"/>
                      </a:cxn>
                      <a:cxn ang="0">
                        <a:pos x="16" y="30"/>
                      </a:cxn>
                      <a:cxn ang="0">
                        <a:pos x="16" y="33"/>
                      </a:cxn>
                      <a:cxn ang="0">
                        <a:pos x="12" y="33"/>
                      </a:cxn>
                      <a:cxn ang="0">
                        <a:pos x="12" y="30"/>
                      </a:cxn>
                      <a:cxn ang="0">
                        <a:pos x="14" y="28"/>
                      </a:cxn>
                      <a:cxn ang="0">
                        <a:pos x="16" y="28"/>
                      </a:cxn>
                      <a:cxn ang="0">
                        <a:pos x="16" y="28"/>
                      </a:cxn>
                      <a:cxn ang="0">
                        <a:pos x="16" y="28"/>
                      </a:cxn>
                      <a:cxn ang="0">
                        <a:pos x="16" y="28"/>
                      </a:cxn>
                      <a:cxn ang="0">
                        <a:pos x="19" y="28"/>
                      </a:cxn>
                      <a:cxn ang="0">
                        <a:pos x="16" y="28"/>
                      </a:cxn>
                      <a:cxn ang="0">
                        <a:pos x="16" y="23"/>
                      </a:cxn>
                      <a:cxn ang="0">
                        <a:pos x="14" y="21"/>
                      </a:cxn>
                      <a:cxn ang="0">
                        <a:pos x="12" y="19"/>
                      </a:cxn>
                      <a:cxn ang="0">
                        <a:pos x="9" y="19"/>
                      </a:cxn>
                      <a:cxn ang="0">
                        <a:pos x="7" y="19"/>
                      </a:cxn>
                      <a:cxn ang="0">
                        <a:pos x="0" y="16"/>
                      </a:cxn>
                      <a:cxn ang="0">
                        <a:pos x="0" y="11"/>
                      </a:cxn>
                      <a:cxn ang="0">
                        <a:pos x="0" y="4"/>
                      </a:cxn>
                      <a:cxn ang="0">
                        <a:pos x="2" y="2"/>
                      </a:cxn>
                      <a:cxn ang="0">
                        <a:pos x="4" y="0"/>
                      </a:cxn>
                      <a:cxn ang="0">
                        <a:pos x="7" y="4"/>
                      </a:cxn>
                      <a:cxn ang="0">
                        <a:pos x="9" y="4"/>
                      </a:cxn>
                      <a:cxn ang="0">
                        <a:pos x="12" y="7"/>
                      </a:cxn>
                      <a:cxn ang="0">
                        <a:pos x="14" y="11"/>
                      </a:cxn>
                      <a:cxn ang="0">
                        <a:pos x="26" y="16"/>
                      </a:cxn>
                      <a:cxn ang="0">
                        <a:pos x="30" y="16"/>
                      </a:cxn>
                      <a:cxn ang="0">
                        <a:pos x="30" y="19"/>
                      </a:cxn>
                      <a:cxn ang="0">
                        <a:pos x="30" y="21"/>
                      </a:cxn>
                      <a:cxn ang="0">
                        <a:pos x="30" y="21"/>
                      </a:cxn>
                      <a:cxn ang="0">
                        <a:pos x="30" y="23"/>
                      </a:cxn>
                      <a:cxn ang="0">
                        <a:pos x="28" y="23"/>
                      </a:cxn>
                      <a:cxn ang="0">
                        <a:pos x="30" y="33"/>
                      </a:cxn>
                      <a:cxn ang="0">
                        <a:pos x="30" y="37"/>
                      </a:cxn>
                      <a:cxn ang="0">
                        <a:pos x="28" y="40"/>
                      </a:cxn>
                      <a:cxn ang="0">
                        <a:pos x="28" y="40"/>
                      </a:cxn>
                      <a:cxn ang="0">
                        <a:pos x="28" y="40"/>
                      </a:cxn>
                      <a:cxn ang="0">
                        <a:pos x="26" y="37"/>
                      </a:cxn>
                      <a:cxn ang="0">
                        <a:pos x="26" y="37"/>
                      </a:cxn>
                      <a:cxn ang="0">
                        <a:pos x="26" y="40"/>
                      </a:cxn>
                      <a:cxn ang="0">
                        <a:pos x="26" y="40"/>
                      </a:cxn>
                      <a:cxn ang="0">
                        <a:pos x="26" y="40"/>
                      </a:cxn>
                      <a:cxn ang="0">
                        <a:pos x="26" y="40"/>
                      </a:cxn>
                      <a:cxn ang="0">
                        <a:pos x="26" y="42"/>
                      </a:cxn>
                      <a:cxn ang="0">
                        <a:pos x="28" y="49"/>
                      </a:cxn>
                      <a:cxn ang="0">
                        <a:pos x="26" y="52"/>
                      </a:cxn>
                      <a:cxn ang="0">
                        <a:pos x="23" y="54"/>
                      </a:cxn>
                      <a:cxn ang="0">
                        <a:pos x="23" y="54"/>
                      </a:cxn>
                    </a:cxnLst>
                    <a:rect l="0" t="0" r="r" b="b"/>
                    <a:pathLst>
                      <a:path w="30" h="54">
                        <a:moveTo>
                          <a:pt x="23" y="54"/>
                        </a:moveTo>
                        <a:lnTo>
                          <a:pt x="21" y="52"/>
                        </a:lnTo>
                        <a:lnTo>
                          <a:pt x="21" y="52"/>
                        </a:lnTo>
                        <a:lnTo>
                          <a:pt x="21" y="52"/>
                        </a:lnTo>
                        <a:lnTo>
                          <a:pt x="21" y="52"/>
                        </a:lnTo>
                        <a:lnTo>
                          <a:pt x="19" y="49"/>
                        </a:lnTo>
                        <a:lnTo>
                          <a:pt x="19" y="49"/>
                        </a:lnTo>
                        <a:lnTo>
                          <a:pt x="19" y="49"/>
                        </a:lnTo>
                        <a:lnTo>
                          <a:pt x="19" y="49"/>
                        </a:lnTo>
                        <a:lnTo>
                          <a:pt x="19" y="47"/>
                        </a:lnTo>
                        <a:lnTo>
                          <a:pt x="19" y="47"/>
                        </a:lnTo>
                        <a:lnTo>
                          <a:pt x="19" y="45"/>
                        </a:lnTo>
                        <a:lnTo>
                          <a:pt x="19" y="45"/>
                        </a:lnTo>
                        <a:lnTo>
                          <a:pt x="19" y="45"/>
                        </a:lnTo>
                        <a:lnTo>
                          <a:pt x="19" y="45"/>
                        </a:lnTo>
                        <a:lnTo>
                          <a:pt x="19" y="42"/>
                        </a:lnTo>
                        <a:lnTo>
                          <a:pt x="19" y="42"/>
                        </a:lnTo>
                        <a:lnTo>
                          <a:pt x="19" y="42"/>
                        </a:lnTo>
                        <a:lnTo>
                          <a:pt x="19" y="42"/>
                        </a:lnTo>
                        <a:lnTo>
                          <a:pt x="19" y="42"/>
                        </a:lnTo>
                        <a:lnTo>
                          <a:pt x="19" y="42"/>
                        </a:lnTo>
                        <a:lnTo>
                          <a:pt x="19" y="40"/>
                        </a:lnTo>
                        <a:lnTo>
                          <a:pt x="19" y="40"/>
                        </a:lnTo>
                        <a:lnTo>
                          <a:pt x="16" y="37"/>
                        </a:lnTo>
                        <a:lnTo>
                          <a:pt x="16" y="37"/>
                        </a:lnTo>
                        <a:lnTo>
                          <a:pt x="16" y="37"/>
                        </a:lnTo>
                        <a:lnTo>
                          <a:pt x="16" y="37"/>
                        </a:lnTo>
                        <a:lnTo>
                          <a:pt x="19" y="35"/>
                        </a:lnTo>
                        <a:lnTo>
                          <a:pt x="19" y="35"/>
                        </a:lnTo>
                        <a:lnTo>
                          <a:pt x="19" y="33"/>
                        </a:lnTo>
                        <a:lnTo>
                          <a:pt x="19" y="33"/>
                        </a:lnTo>
                        <a:lnTo>
                          <a:pt x="19" y="33"/>
                        </a:lnTo>
                        <a:lnTo>
                          <a:pt x="19" y="33"/>
                        </a:lnTo>
                        <a:lnTo>
                          <a:pt x="19" y="33"/>
                        </a:lnTo>
                        <a:lnTo>
                          <a:pt x="19" y="33"/>
                        </a:lnTo>
                        <a:lnTo>
                          <a:pt x="19" y="33"/>
                        </a:lnTo>
                        <a:lnTo>
                          <a:pt x="19" y="33"/>
                        </a:lnTo>
                        <a:lnTo>
                          <a:pt x="19" y="30"/>
                        </a:lnTo>
                        <a:lnTo>
                          <a:pt x="19" y="30"/>
                        </a:lnTo>
                        <a:lnTo>
                          <a:pt x="19" y="30"/>
                        </a:lnTo>
                        <a:lnTo>
                          <a:pt x="19" y="30"/>
                        </a:lnTo>
                        <a:lnTo>
                          <a:pt x="19" y="30"/>
                        </a:lnTo>
                        <a:lnTo>
                          <a:pt x="19" y="30"/>
                        </a:lnTo>
                        <a:lnTo>
                          <a:pt x="19" y="30"/>
                        </a:lnTo>
                        <a:lnTo>
                          <a:pt x="19" y="30"/>
                        </a:lnTo>
                        <a:lnTo>
                          <a:pt x="19" y="30"/>
                        </a:lnTo>
                        <a:lnTo>
                          <a:pt x="19" y="30"/>
                        </a:lnTo>
                        <a:lnTo>
                          <a:pt x="19" y="30"/>
                        </a:lnTo>
                        <a:lnTo>
                          <a:pt x="19" y="30"/>
                        </a:lnTo>
                        <a:lnTo>
                          <a:pt x="19" y="30"/>
                        </a:lnTo>
                        <a:lnTo>
                          <a:pt x="19" y="30"/>
                        </a:lnTo>
                        <a:lnTo>
                          <a:pt x="16" y="30"/>
                        </a:lnTo>
                        <a:lnTo>
                          <a:pt x="16" y="30"/>
                        </a:lnTo>
                        <a:lnTo>
                          <a:pt x="16" y="30"/>
                        </a:lnTo>
                        <a:lnTo>
                          <a:pt x="16" y="30"/>
                        </a:lnTo>
                        <a:lnTo>
                          <a:pt x="16" y="30"/>
                        </a:lnTo>
                        <a:lnTo>
                          <a:pt x="16" y="30"/>
                        </a:lnTo>
                        <a:lnTo>
                          <a:pt x="16" y="30"/>
                        </a:lnTo>
                        <a:lnTo>
                          <a:pt x="16" y="30"/>
                        </a:lnTo>
                        <a:lnTo>
                          <a:pt x="16" y="30"/>
                        </a:lnTo>
                        <a:lnTo>
                          <a:pt x="16" y="30"/>
                        </a:lnTo>
                        <a:lnTo>
                          <a:pt x="16" y="33"/>
                        </a:lnTo>
                        <a:lnTo>
                          <a:pt x="16" y="33"/>
                        </a:lnTo>
                        <a:lnTo>
                          <a:pt x="16" y="33"/>
                        </a:lnTo>
                        <a:lnTo>
                          <a:pt x="16" y="33"/>
                        </a:lnTo>
                        <a:lnTo>
                          <a:pt x="14" y="33"/>
                        </a:lnTo>
                        <a:lnTo>
                          <a:pt x="14" y="33"/>
                        </a:lnTo>
                        <a:lnTo>
                          <a:pt x="12" y="33"/>
                        </a:lnTo>
                        <a:lnTo>
                          <a:pt x="12" y="33"/>
                        </a:lnTo>
                        <a:lnTo>
                          <a:pt x="12" y="33"/>
                        </a:lnTo>
                        <a:lnTo>
                          <a:pt x="12" y="33"/>
                        </a:lnTo>
                        <a:lnTo>
                          <a:pt x="12" y="30"/>
                        </a:lnTo>
                        <a:lnTo>
                          <a:pt x="12" y="30"/>
                        </a:lnTo>
                        <a:lnTo>
                          <a:pt x="12" y="28"/>
                        </a:lnTo>
                        <a:lnTo>
                          <a:pt x="12" y="28"/>
                        </a:lnTo>
                        <a:lnTo>
                          <a:pt x="14" y="28"/>
                        </a:lnTo>
                        <a:lnTo>
                          <a:pt x="14" y="28"/>
                        </a:lnTo>
                        <a:lnTo>
                          <a:pt x="16" y="28"/>
                        </a:lnTo>
                        <a:lnTo>
                          <a:pt x="16" y="28"/>
                        </a:lnTo>
                        <a:lnTo>
                          <a:pt x="16" y="28"/>
                        </a:lnTo>
                        <a:lnTo>
                          <a:pt x="16" y="28"/>
                        </a:lnTo>
                        <a:lnTo>
                          <a:pt x="16" y="28"/>
                        </a:lnTo>
                        <a:lnTo>
                          <a:pt x="16" y="28"/>
                        </a:lnTo>
                        <a:lnTo>
                          <a:pt x="16" y="28"/>
                        </a:lnTo>
                        <a:lnTo>
                          <a:pt x="16" y="28"/>
                        </a:lnTo>
                        <a:lnTo>
                          <a:pt x="16" y="28"/>
                        </a:lnTo>
                        <a:lnTo>
                          <a:pt x="16" y="28"/>
                        </a:lnTo>
                        <a:lnTo>
                          <a:pt x="16" y="28"/>
                        </a:lnTo>
                        <a:lnTo>
                          <a:pt x="16" y="28"/>
                        </a:lnTo>
                        <a:lnTo>
                          <a:pt x="16" y="28"/>
                        </a:lnTo>
                        <a:lnTo>
                          <a:pt x="16" y="28"/>
                        </a:lnTo>
                        <a:lnTo>
                          <a:pt x="16" y="28"/>
                        </a:lnTo>
                        <a:lnTo>
                          <a:pt x="16" y="28"/>
                        </a:lnTo>
                        <a:lnTo>
                          <a:pt x="19" y="28"/>
                        </a:lnTo>
                        <a:lnTo>
                          <a:pt x="19" y="28"/>
                        </a:lnTo>
                        <a:lnTo>
                          <a:pt x="19" y="28"/>
                        </a:lnTo>
                        <a:lnTo>
                          <a:pt x="19" y="28"/>
                        </a:lnTo>
                        <a:lnTo>
                          <a:pt x="19" y="28"/>
                        </a:lnTo>
                        <a:lnTo>
                          <a:pt x="19" y="28"/>
                        </a:lnTo>
                        <a:lnTo>
                          <a:pt x="16" y="28"/>
                        </a:lnTo>
                        <a:lnTo>
                          <a:pt x="16" y="28"/>
                        </a:lnTo>
                        <a:lnTo>
                          <a:pt x="16" y="26"/>
                        </a:lnTo>
                        <a:lnTo>
                          <a:pt x="16" y="26"/>
                        </a:lnTo>
                        <a:lnTo>
                          <a:pt x="16" y="23"/>
                        </a:lnTo>
                        <a:lnTo>
                          <a:pt x="16" y="23"/>
                        </a:lnTo>
                        <a:lnTo>
                          <a:pt x="16" y="23"/>
                        </a:lnTo>
                        <a:lnTo>
                          <a:pt x="16" y="23"/>
                        </a:lnTo>
                        <a:lnTo>
                          <a:pt x="14" y="21"/>
                        </a:lnTo>
                        <a:lnTo>
                          <a:pt x="14" y="21"/>
                        </a:lnTo>
                        <a:lnTo>
                          <a:pt x="14" y="21"/>
                        </a:lnTo>
                        <a:lnTo>
                          <a:pt x="14" y="21"/>
                        </a:lnTo>
                        <a:lnTo>
                          <a:pt x="12" y="19"/>
                        </a:lnTo>
                        <a:lnTo>
                          <a:pt x="12" y="19"/>
                        </a:lnTo>
                        <a:lnTo>
                          <a:pt x="12" y="19"/>
                        </a:lnTo>
                        <a:lnTo>
                          <a:pt x="12" y="19"/>
                        </a:lnTo>
                        <a:lnTo>
                          <a:pt x="9" y="19"/>
                        </a:lnTo>
                        <a:lnTo>
                          <a:pt x="9" y="19"/>
                        </a:lnTo>
                        <a:lnTo>
                          <a:pt x="7" y="19"/>
                        </a:lnTo>
                        <a:lnTo>
                          <a:pt x="7" y="19"/>
                        </a:lnTo>
                        <a:lnTo>
                          <a:pt x="7" y="19"/>
                        </a:lnTo>
                        <a:lnTo>
                          <a:pt x="7" y="19"/>
                        </a:lnTo>
                        <a:lnTo>
                          <a:pt x="2" y="19"/>
                        </a:lnTo>
                        <a:lnTo>
                          <a:pt x="2" y="19"/>
                        </a:lnTo>
                        <a:lnTo>
                          <a:pt x="0" y="16"/>
                        </a:lnTo>
                        <a:lnTo>
                          <a:pt x="0" y="16"/>
                        </a:lnTo>
                        <a:lnTo>
                          <a:pt x="0" y="16"/>
                        </a:lnTo>
                        <a:lnTo>
                          <a:pt x="0" y="16"/>
                        </a:lnTo>
                        <a:lnTo>
                          <a:pt x="0" y="11"/>
                        </a:lnTo>
                        <a:lnTo>
                          <a:pt x="0" y="11"/>
                        </a:lnTo>
                        <a:lnTo>
                          <a:pt x="0" y="11"/>
                        </a:lnTo>
                        <a:lnTo>
                          <a:pt x="0" y="11"/>
                        </a:lnTo>
                        <a:lnTo>
                          <a:pt x="0" y="4"/>
                        </a:lnTo>
                        <a:lnTo>
                          <a:pt x="0" y="4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2" y="2"/>
                        </a:lnTo>
                        <a:lnTo>
                          <a:pt x="2" y="2"/>
                        </a:lnTo>
                        <a:lnTo>
                          <a:pt x="4" y="0"/>
                        </a:lnTo>
                        <a:lnTo>
                          <a:pt x="4" y="0"/>
                        </a:lnTo>
                        <a:lnTo>
                          <a:pt x="4" y="0"/>
                        </a:lnTo>
                        <a:lnTo>
                          <a:pt x="4" y="0"/>
                        </a:lnTo>
                        <a:lnTo>
                          <a:pt x="7" y="2"/>
                        </a:lnTo>
                        <a:lnTo>
                          <a:pt x="7" y="2"/>
                        </a:lnTo>
                        <a:lnTo>
                          <a:pt x="7" y="4"/>
                        </a:lnTo>
                        <a:lnTo>
                          <a:pt x="7" y="4"/>
                        </a:lnTo>
                        <a:lnTo>
                          <a:pt x="7" y="4"/>
                        </a:lnTo>
                        <a:lnTo>
                          <a:pt x="7" y="4"/>
                        </a:lnTo>
                        <a:lnTo>
                          <a:pt x="9" y="4"/>
                        </a:lnTo>
                        <a:lnTo>
                          <a:pt x="9" y="4"/>
                        </a:lnTo>
                        <a:lnTo>
                          <a:pt x="9" y="4"/>
                        </a:lnTo>
                        <a:lnTo>
                          <a:pt x="9" y="4"/>
                        </a:lnTo>
                        <a:lnTo>
                          <a:pt x="12" y="7"/>
                        </a:lnTo>
                        <a:lnTo>
                          <a:pt x="12" y="7"/>
                        </a:lnTo>
                        <a:lnTo>
                          <a:pt x="12" y="7"/>
                        </a:lnTo>
                        <a:lnTo>
                          <a:pt x="12" y="7"/>
                        </a:lnTo>
                        <a:lnTo>
                          <a:pt x="14" y="11"/>
                        </a:lnTo>
                        <a:lnTo>
                          <a:pt x="14" y="11"/>
                        </a:lnTo>
                        <a:lnTo>
                          <a:pt x="21" y="14"/>
                        </a:lnTo>
                        <a:lnTo>
                          <a:pt x="21" y="14"/>
                        </a:lnTo>
                        <a:lnTo>
                          <a:pt x="26" y="16"/>
                        </a:lnTo>
                        <a:lnTo>
                          <a:pt x="26" y="16"/>
                        </a:lnTo>
                        <a:lnTo>
                          <a:pt x="26" y="16"/>
                        </a:lnTo>
                        <a:lnTo>
                          <a:pt x="26" y="16"/>
                        </a:lnTo>
                        <a:lnTo>
                          <a:pt x="30" y="16"/>
                        </a:lnTo>
                        <a:lnTo>
                          <a:pt x="30" y="16"/>
                        </a:lnTo>
                        <a:lnTo>
                          <a:pt x="30" y="19"/>
                        </a:lnTo>
                        <a:lnTo>
                          <a:pt x="30" y="19"/>
                        </a:lnTo>
                        <a:lnTo>
                          <a:pt x="30" y="19"/>
                        </a:lnTo>
                        <a:lnTo>
                          <a:pt x="30" y="19"/>
                        </a:lnTo>
                        <a:lnTo>
                          <a:pt x="30" y="21"/>
                        </a:lnTo>
                        <a:lnTo>
                          <a:pt x="30" y="21"/>
                        </a:lnTo>
                        <a:lnTo>
                          <a:pt x="30" y="21"/>
                        </a:lnTo>
                        <a:lnTo>
                          <a:pt x="30" y="21"/>
                        </a:lnTo>
                        <a:lnTo>
                          <a:pt x="30" y="21"/>
                        </a:lnTo>
                        <a:lnTo>
                          <a:pt x="30" y="21"/>
                        </a:lnTo>
                        <a:lnTo>
                          <a:pt x="30" y="21"/>
                        </a:lnTo>
                        <a:lnTo>
                          <a:pt x="30" y="21"/>
                        </a:lnTo>
                        <a:lnTo>
                          <a:pt x="30" y="21"/>
                        </a:lnTo>
                        <a:lnTo>
                          <a:pt x="30" y="21"/>
                        </a:lnTo>
                        <a:lnTo>
                          <a:pt x="30" y="23"/>
                        </a:lnTo>
                        <a:lnTo>
                          <a:pt x="30" y="23"/>
                        </a:lnTo>
                        <a:lnTo>
                          <a:pt x="28" y="23"/>
                        </a:lnTo>
                        <a:lnTo>
                          <a:pt x="28" y="23"/>
                        </a:lnTo>
                        <a:lnTo>
                          <a:pt x="28" y="23"/>
                        </a:lnTo>
                        <a:lnTo>
                          <a:pt x="28" y="23"/>
                        </a:lnTo>
                        <a:lnTo>
                          <a:pt x="28" y="26"/>
                        </a:lnTo>
                        <a:lnTo>
                          <a:pt x="28" y="26"/>
                        </a:lnTo>
                        <a:lnTo>
                          <a:pt x="30" y="33"/>
                        </a:lnTo>
                        <a:lnTo>
                          <a:pt x="30" y="33"/>
                        </a:lnTo>
                        <a:lnTo>
                          <a:pt x="30" y="35"/>
                        </a:lnTo>
                        <a:lnTo>
                          <a:pt x="30" y="35"/>
                        </a:lnTo>
                        <a:lnTo>
                          <a:pt x="30" y="37"/>
                        </a:lnTo>
                        <a:lnTo>
                          <a:pt x="30" y="37"/>
                        </a:lnTo>
                        <a:lnTo>
                          <a:pt x="30" y="37"/>
                        </a:lnTo>
                        <a:lnTo>
                          <a:pt x="30" y="37"/>
                        </a:lnTo>
                        <a:lnTo>
                          <a:pt x="28" y="40"/>
                        </a:lnTo>
                        <a:lnTo>
                          <a:pt x="28" y="40"/>
                        </a:lnTo>
                        <a:lnTo>
                          <a:pt x="28" y="40"/>
                        </a:lnTo>
                        <a:lnTo>
                          <a:pt x="28" y="40"/>
                        </a:lnTo>
                        <a:lnTo>
                          <a:pt x="28" y="40"/>
                        </a:lnTo>
                        <a:lnTo>
                          <a:pt x="28" y="40"/>
                        </a:lnTo>
                        <a:lnTo>
                          <a:pt x="28" y="40"/>
                        </a:lnTo>
                        <a:lnTo>
                          <a:pt x="28" y="40"/>
                        </a:lnTo>
                        <a:lnTo>
                          <a:pt x="28" y="40"/>
                        </a:lnTo>
                        <a:lnTo>
                          <a:pt x="28" y="40"/>
                        </a:lnTo>
                        <a:lnTo>
                          <a:pt x="26" y="37"/>
                        </a:lnTo>
                        <a:lnTo>
                          <a:pt x="26" y="37"/>
                        </a:lnTo>
                        <a:lnTo>
                          <a:pt x="26" y="37"/>
                        </a:lnTo>
                        <a:lnTo>
                          <a:pt x="26" y="37"/>
                        </a:lnTo>
                        <a:lnTo>
                          <a:pt x="26" y="37"/>
                        </a:lnTo>
                        <a:lnTo>
                          <a:pt x="26" y="37"/>
                        </a:lnTo>
                        <a:lnTo>
                          <a:pt x="26" y="37"/>
                        </a:lnTo>
                        <a:lnTo>
                          <a:pt x="26" y="37"/>
                        </a:lnTo>
                        <a:lnTo>
                          <a:pt x="26" y="37"/>
                        </a:lnTo>
                        <a:lnTo>
                          <a:pt x="26" y="37"/>
                        </a:lnTo>
                        <a:lnTo>
                          <a:pt x="26" y="40"/>
                        </a:lnTo>
                        <a:lnTo>
                          <a:pt x="26" y="40"/>
                        </a:lnTo>
                        <a:lnTo>
                          <a:pt x="26" y="40"/>
                        </a:lnTo>
                        <a:lnTo>
                          <a:pt x="26" y="40"/>
                        </a:lnTo>
                        <a:lnTo>
                          <a:pt x="26" y="40"/>
                        </a:lnTo>
                        <a:lnTo>
                          <a:pt x="26" y="40"/>
                        </a:lnTo>
                        <a:lnTo>
                          <a:pt x="26" y="40"/>
                        </a:lnTo>
                        <a:lnTo>
                          <a:pt x="26" y="40"/>
                        </a:lnTo>
                        <a:lnTo>
                          <a:pt x="26" y="40"/>
                        </a:lnTo>
                        <a:lnTo>
                          <a:pt x="26" y="40"/>
                        </a:lnTo>
                        <a:lnTo>
                          <a:pt x="26" y="40"/>
                        </a:lnTo>
                        <a:lnTo>
                          <a:pt x="26" y="40"/>
                        </a:lnTo>
                        <a:lnTo>
                          <a:pt x="26" y="40"/>
                        </a:lnTo>
                        <a:lnTo>
                          <a:pt x="26" y="40"/>
                        </a:lnTo>
                        <a:lnTo>
                          <a:pt x="26" y="42"/>
                        </a:lnTo>
                        <a:lnTo>
                          <a:pt x="26" y="42"/>
                        </a:lnTo>
                        <a:lnTo>
                          <a:pt x="26" y="42"/>
                        </a:lnTo>
                        <a:lnTo>
                          <a:pt x="26" y="42"/>
                        </a:lnTo>
                        <a:lnTo>
                          <a:pt x="26" y="42"/>
                        </a:lnTo>
                        <a:lnTo>
                          <a:pt x="26" y="42"/>
                        </a:lnTo>
                        <a:lnTo>
                          <a:pt x="28" y="49"/>
                        </a:lnTo>
                        <a:lnTo>
                          <a:pt x="28" y="49"/>
                        </a:lnTo>
                        <a:lnTo>
                          <a:pt x="26" y="49"/>
                        </a:lnTo>
                        <a:lnTo>
                          <a:pt x="26" y="49"/>
                        </a:lnTo>
                        <a:lnTo>
                          <a:pt x="26" y="52"/>
                        </a:lnTo>
                        <a:lnTo>
                          <a:pt x="26" y="52"/>
                        </a:lnTo>
                        <a:lnTo>
                          <a:pt x="26" y="54"/>
                        </a:lnTo>
                        <a:lnTo>
                          <a:pt x="26" y="54"/>
                        </a:lnTo>
                        <a:lnTo>
                          <a:pt x="23" y="54"/>
                        </a:lnTo>
                        <a:lnTo>
                          <a:pt x="23" y="54"/>
                        </a:lnTo>
                        <a:lnTo>
                          <a:pt x="23" y="54"/>
                        </a:lnTo>
                        <a:lnTo>
                          <a:pt x="23" y="54"/>
                        </a:lnTo>
                        <a:lnTo>
                          <a:pt x="23" y="54"/>
                        </a:lnTo>
                        <a:lnTo>
                          <a:pt x="23" y="54"/>
                        </a:lnTo>
                        <a:lnTo>
                          <a:pt x="23" y="54"/>
                        </a:lnTo>
                        <a:lnTo>
                          <a:pt x="23" y="54"/>
                        </a:lnTo>
                        <a:close/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81" name="Freeform 1240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6127750" y="4852988"/>
                    <a:ext cx="20637" cy="26988"/>
                  </a:xfrm>
                  <a:custGeom>
                    <a:avLst/>
                    <a:gdLst/>
                    <a:ahLst/>
                    <a:cxnLst>
                      <a:cxn ang="0">
                        <a:pos x="2" y="14"/>
                      </a:cxn>
                      <a:cxn ang="0">
                        <a:pos x="2" y="14"/>
                      </a:cxn>
                      <a:cxn ang="0">
                        <a:pos x="0" y="11"/>
                      </a:cxn>
                      <a:cxn ang="0">
                        <a:pos x="0" y="11"/>
                      </a:cxn>
                      <a:cxn ang="0">
                        <a:pos x="0" y="9"/>
                      </a:cxn>
                      <a:cxn ang="0">
                        <a:pos x="0" y="9"/>
                      </a:cxn>
                      <a:cxn ang="0">
                        <a:pos x="0" y="9"/>
                      </a:cxn>
                      <a:cxn ang="0">
                        <a:pos x="2" y="7"/>
                      </a:cxn>
                      <a:cxn ang="0">
                        <a:pos x="2" y="7"/>
                      </a:cxn>
                      <a:cxn ang="0">
                        <a:pos x="2" y="2"/>
                      </a:cxn>
                      <a:cxn ang="0">
                        <a:pos x="2" y="2"/>
                      </a:cxn>
                      <a:cxn ang="0">
                        <a:pos x="5" y="0"/>
                      </a:cxn>
                      <a:cxn ang="0">
                        <a:pos x="5" y="0"/>
                      </a:cxn>
                      <a:cxn ang="0">
                        <a:pos x="5" y="0"/>
                      </a:cxn>
                      <a:cxn ang="0">
                        <a:pos x="7" y="0"/>
                      </a:cxn>
                      <a:cxn ang="0">
                        <a:pos x="9" y="2"/>
                      </a:cxn>
                      <a:cxn ang="0">
                        <a:pos x="12" y="7"/>
                      </a:cxn>
                      <a:cxn ang="0">
                        <a:pos x="12" y="7"/>
                      </a:cxn>
                      <a:cxn ang="0">
                        <a:pos x="12" y="9"/>
                      </a:cxn>
                      <a:cxn ang="0">
                        <a:pos x="12" y="11"/>
                      </a:cxn>
                      <a:cxn ang="0">
                        <a:pos x="12" y="14"/>
                      </a:cxn>
                      <a:cxn ang="0">
                        <a:pos x="12" y="16"/>
                      </a:cxn>
                      <a:cxn ang="0">
                        <a:pos x="12" y="16"/>
                      </a:cxn>
                      <a:cxn ang="0">
                        <a:pos x="9" y="16"/>
                      </a:cxn>
                      <a:cxn ang="0">
                        <a:pos x="9" y="16"/>
                      </a:cxn>
                      <a:cxn ang="0">
                        <a:pos x="9" y="16"/>
                      </a:cxn>
                      <a:cxn ang="0">
                        <a:pos x="7" y="16"/>
                      </a:cxn>
                      <a:cxn ang="0">
                        <a:pos x="5" y="14"/>
                      </a:cxn>
                      <a:cxn ang="0">
                        <a:pos x="5" y="14"/>
                      </a:cxn>
                      <a:cxn ang="0">
                        <a:pos x="5" y="14"/>
                      </a:cxn>
                      <a:cxn ang="0">
                        <a:pos x="2" y="14"/>
                      </a:cxn>
                      <a:cxn ang="0">
                        <a:pos x="2" y="14"/>
                      </a:cxn>
                    </a:cxnLst>
                    <a:rect l="0" t="0" r="r" b="b"/>
                    <a:pathLst>
                      <a:path w="12" h="16">
                        <a:moveTo>
                          <a:pt x="2" y="14"/>
                        </a:moveTo>
                        <a:lnTo>
                          <a:pt x="2" y="14"/>
                        </a:lnTo>
                        <a:lnTo>
                          <a:pt x="2" y="14"/>
                        </a:lnTo>
                        <a:lnTo>
                          <a:pt x="2" y="14"/>
                        </a:lnTo>
                        <a:lnTo>
                          <a:pt x="2" y="14"/>
                        </a:lnTo>
                        <a:lnTo>
                          <a:pt x="0" y="11"/>
                        </a:lnTo>
                        <a:lnTo>
                          <a:pt x="0" y="11"/>
                        </a:lnTo>
                        <a:lnTo>
                          <a:pt x="0" y="11"/>
                        </a:lnTo>
                        <a:lnTo>
                          <a:pt x="0" y="11"/>
                        </a:lnTo>
                        <a:lnTo>
                          <a:pt x="0" y="9"/>
                        </a:lnTo>
                        <a:lnTo>
                          <a:pt x="0" y="9"/>
                        </a:lnTo>
                        <a:lnTo>
                          <a:pt x="0" y="9"/>
                        </a:lnTo>
                        <a:lnTo>
                          <a:pt x="0" y="9"/>
                        </a:lnTo>
                        <a:lnTo>
                          <a:pt x="0" y="9"/>
                        </a:lnTo>
                        <a:lnTo>
                          <a:pt x="0" y="9"/>
                        </a:lnTo>
                        <a:lnTo>
                          <a:pt x="2" y="7"/>
                        </a:lnTo>
                        <a:lnTo>
                          <a:pt x="2" y="7"/>
                        </a:lnTo>
                        <a:lnTo>
                          <a:pt x="2" y="7"/>
                        </a:lnTo>
                        <a:lnTo>
                          <a:pt x="2" y="7"/>
                        </a:lnTo>
                        <a:lnTo>
                          <a:pt x="2" y="2"/>
                        </a:lnTo>
                        <a:lnTo>
                          <a:pt x="2" y="2"/>
                        </a:lnTo>
                        <a:lnTo>
                          <a:pt x="2" y="2"/>
                        </a:lnTo>
                        <a:lnTo>
                          <a:pt x="2" y="2"/>
                        </a:lnTo>
                        <a:lnTo>
                          <a:pt x="5" y="0"/>
                        </a:lnTo>
                        <a:lnTo>
                          <a:pt x="5" y="0"/>
                        </a:lnTo>
                        <a:lnTo>
                          <a:pt x="5" y="0"/>
                        </a:lnTo>
                        <a:lnTo>
                          <a:pt x="5" y="0"/>
                        </a:lnTo>
                        <a:lnTo>
                          <a:pt x="5" y="0"/>
                        </a:lnTo>
                        <a:lnTo>
                          <a:pt x="5" y="0"/>
                        </a:lnTo>
                        <a:lnTo>
                          <a:pt x="7" y="0"/>
                        </a:lnTo>
                        <a:lnTo>
                          <a:pt x="7" y="0"/>
                        </a:lnTo>
                        <a:lnTo>
                          <a:pt x="9" y="2"/>
                        </a:lnTo>
                        <a:lnTo>
                          <a:pt x="9" y="2"/>
                        </a:lnTo>
                        <a:lnTo>
                          <a:pt x="12" y="7"/>
                        </a:lnTo>
                        <a:lnTo>
                          <a:pt x="12" y="7"/>
                        </a:lnTo>
                        <a:lnTo>
                          <a:pt x="12" y="7"/>
                        </a:lnTo>
                        <a:lnTo>
                          <a:pt x="12" y="7"/>
                        </a:lnTo>
                        <a:lnTo>
                          <a:pt x="12" y="9"/>
                        </a:lnTo>
                        <a:lnTo>
                          <a:pt x="12" y="9"/>
                        </a:lnTo>
                        <a:lnTo>
                          <a:pt x="12" y="11"/>
                        </a:lnTo>
                        <a:lnTo>
                          <a:pt x="12" y="11"/>
                        </a:lnTo>
                        <a:lnTo>
                          <a:pt x="12" y="14"/>
                        </a:lnTo>
                        <a:lnTo>
                          <a:pt x="12" y="14"/>
                        </a:lnTo>
                        <a:lnTo>
                          <a:pt x="12" y="16"/>
                        </a:lnTo>
                        <a:lnTo>
                          <a:pt x="12" y="16"/>
                        </a:lnTo>
                        <a:lnTo>
                          <a:pt x="12" y="16"/>
                        </a:lnTo>
                        <a:lnTo>
                          <a:pt x="12" y="16"/>
                        </a:lnTo>
                        <a:lnTo>
                          <a:pt x="9" y="16"/>
                        </a:lnTo>
                        <a:lnTo>
                          <a:pt x="9" y="16"/>
                        </a:lnTo>
                        <a:lnTo>
                          <a:pt x="9" y="16"/>
                        </a:lnTo>
                        <a:lnTo>
                          <a:pt x="9" y="16"/>
                        </a:lnTo>
                        <a:lnTo>
                          <a:pt x="9" y="16"/>
                        </a:lnTo>
                        <a:lnTo>
                          <a:pt x="9" y="16"/>
                        </a:lnTo>
                        <a:lnTo>
                          <a:pt x="7" y="16"/>
                        </a:lnTo>
                        <a:lnTo>
                          <a:pt x="7" y="16"/>
                        </a:lnTo>
                        <a:lnTo>
                          <a:pt x="5" y="14"/>
                        </a:lnTo>
                        <a:lnTo>
                          <a:pt x="5" y="14"/>
                        </a:lnTo>
                        <a:lnTo>
                          <a:pt x="5" y="14"/>
                        </a:lnTo>
                        <a:lnTo>
                          <a:pt x="5" y="14"/>
                        </a:lnTo>
                        <a:lnTo>
                          <a:pt x="5" y="14"/>
                        </a:lnTo>
                        <a:lnTo>
                          <a:pt x="5" y="14"/>
                        </a:lnTo>
                        <a:lnTo>
                          <a:pt x="2" y="14"/>
                        </a:lnTo>
                        <a:lnTo>
                          <a:pt x="2" y="14"/>
                        </a:lnTo>
                        <a:lnTo>
                          <a:pt x="2" y="14"/>
                        </a:lnTo>
                        <a:lnTo>
                          <a:pt x="2" y="14"/>
                        </a:lnTo>
                        <a:close/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82" name="Freeform 1241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5753100" y="4859338"/>
                    <a:ext cx="26987" cy="31750"/>
                  </a:xfrm>
                  <a:custGeom>
                    <a:avLst/>
                    <a:gdLst/>
                    <a:ahLst/>
                    <a:cxnLst>
                      <a:cxn ang="0">
                        <a:pos x="9" y="19"/>
                      </a:cxn>
                      <a:cxn ang="0">
                        <a:pos x="7" y="17"/>
                      </a:cxn>
                      <a:cxn ang="0">
                        <a:pos x="7" y="17"/>
                      </a:cxn>
                      <a:cxn ang="0">
                        <a:pos x="2" y="15"/>
                      </a:cxn>
                      <a:cxn ang="0">
                        <a:pos x="2" y="15"/>
                      </a:cxn>
                      <a:cxn ang="0">
                        <a:pos x="0" y="12"/>
                      </a:cxn>
                      <a:cxn ang="0">
                        <a:pos x="0" y="12"/>
                      </a:cxn>
                      <a:cxn ang="0">
                        <a:pos x="0" y="10"/>
                      </a:cxn>
                      <a:cxn ang="0">
                        <a:pos x="0" y="10"/>
                      </a:cxn>
                      <a:cxn ang="0">
                        <a:pos x="2" y="10"/>
                      </a:cxn>
                      <a:cxn ang="0">
                        <a:pos x="2" y="10"/>
                      </a:cxn>
                      <a:cxn ang="0">
                        <a:pos x="9" y="10"/>
                      </a:cxn>
                      <a:cxn ang="0">
                        <a:pos x="9" y="10"/>
                      </a:cxn>
                      <a:cxn ang="0">
                        <a:pos x="11" y="10"/>
                      </a:cxn>
                      <a:cxn ang="0">
                        <a:pos x="11" y="10"/>
                      </a:cxn>
                      <a:cxn ang="0">
                        <a:pos x="11" y="7"/>
                      </a:cxn>
                      <a:cxn ang="0">
                        <a:pos x="11" y="7"/>
                      </a:cxn>
                      <a:cxn ang="0">
                        <a:pos x="11" y="7"/>
                      </a:cxn>
                      <a:cxn ang="0">
                        <a:pos x="11" y="7"/>
                      </a:cxn>
                      <a:cxn ang="0">
                        <a:pos x="16" y="5"/>
                      </a:cxn>
                      <a:cxn ang="0">
                        <a:pos x="16" y="5"/>
                      </a:cxn>
                      <a:cxn ang="0">
                        <a:pos x="16" y="3"/>
                      </a:cxn>
                      <a:cxn ang="0">
                        <a:pos x="16" y="3"/>
                      </a:cxn>
                      <a:cxn ang="0">
                        <a:pos x="16" y="3"/>
                      </a:cxn>
                      <a:cxn ang="0">
                        <a:pos x="16" y="3"/>
                      </a:cxn>
                      <a:cxn ang="0">
                        <a:pos x="14" y="0"/>
                      </a:cxn>
                      <a:cxn ang="0">
                        <a:pos x="14" y="0"/>
                      </a:cxn>
                      <a:cxn ang="0">
                        <a:pos x="14" y="0"/>
                      </a:cxn>
                      <a:cxn ang="0">
                        <a:pos x="14" y="0"/>
                      </a:cxn>
                      <a:cxn ang="0">
                        <a:pos x="14" y="0"/>
                      </a:cxn>
                      <a:cxn ang="0">
                        <a:pos x="14" y="0"/>
                      </a:cxn>
                      <a:cxn ang="0">
                        <a:pos x="16" y="0"/>
                      </a:cxn>
                      <a:cxn ang="0">
                        <a:pos x="16" y="0"/>
                      </a:cxn>
                      <a:cxn ang="0">
                        <a:pos x="16" y="0"/>
                      </a:cxn>
                      <a:cxn ang="0">
                        <a:pos x="16" y="0"/>
                      </a:cxn>
                      <a:cxn ang="0">
                        <a:pos x="16" y="3"/>
                      </a:cxn>
                      <a:cxn ang="0">
                        <a:pos x="16" y="3"/>
                      </a:cxn>
                      <a:cxn ang="0">
                        <a:pos x="16" y="5"/>
                      </a:cxn>
                      <a:cxn ang="0">
                        <a:pos x="16" y="5"/>
                      </a:cxn>
                      <a:cxn ang="0">
                        <a:pos x="14" y="15"/>
                      </a:cxn>
                      <a:cxn ang="0">
                        <a:pos x="14" y="15"/>
                      </a:cxn>
                      <a:cxn ang="0">
                        <a:pos x="11" y="17"/>
                      </a:cxn>
                      <a:cxn ang="0">
                        <a:pos x="11" y="17"/>
                      </a:cxn>
                      <a:cxn ang="0">
                        <a:pos x="11" y="17"/>
                      </a:cxn>
                      <a:cxn ang="0">
                        <a:pos x="11" y="17"/>
                      </a:cxn>
                      <a:cxn ang="0">
                        <a:pos x="9" y="19"/>
                      </a:cxn>
                      <a:cxn ang="0">
                        <a:pos x="9" y="19"/>
                      </a:cxn>
                      <a:cxn ang="0">
                        <a:pos x="9" y="19"/>
                      </a:cxn>
                      <a:cxn ang="0">
                        <a:pos x="9" y="19"/>
                      </a:cxn>
                      <a:cxn ang="0">
                        <a:pos x="9" y="19"/>
                      </a:cxn>
                      <a:cxn ang="0">
                        <a:pos x="9" y="19"/>
                      </a:cxn>
                    </a:cxnLst>
                    <a:rect l="0" t="0" r="r" b="b"/>
                    <a:pathLst>
                      <a:path w="16" h="19">
                        <a:moveTo>
                          <a:pt x="9" y="19"/>
                        </a:moveTo>
                        <a:lnTo>
                          <a:pt x="7" y="17"/>
                        </a:lnTo>
                        <a:lnTo>
                          <a:pt x="7" y="17"/>
                        </a:lnTo>
                        <a:lnTo>
                          <a:pt x="2" y="15"/>
                        </a:lnTo>
                        <a:lnTo>
                          <a:pt x="2" y="15"/>
                        </a:lnTo>
                        <a:lnTo>
                          <a:pt x="0" y="12"/>
                        </a:lnTo>
                        <a:lnTo>
                          <a:pt x="0" y="12"/>
                        </a:lnTo>
                        <a:lnTo>
                          <a:pt x="0" y="10"/>
                        </a:lnTo>
                        <a:lnTo>
                          <a:pt x="0" y="10"/>
                        </a:lnTo>
                        <a:lnTo>
                          <a:pt x="2" y="10"/>
                        </a:lnTo>
                        <a:lnTo>
                          <a:pt x="2" y="10"/>
                        </a:lnTo>
                        <a:lnTo>
                          <a:pt x="9" y="10"/>
                        </a:lnTo>
                        <a:lnTo>
                          <a:pt x="9" y="10"/>
                        </a:lnTo>
                        <a:lnTo>
                          <a:pt x="11" y="10"/>
                        </a:lnTo>
                        <a:lnTo>
                          <a:pt x="11" y="10"/>
                        </a:lnTo>
                        <a:lnTo>
                          <a:pt x="11" y="7"/>
                        </a:lnTo>
                        <a:lnTo>
                          <a:pt x="11" y="7"/>
                        </a:lnTo>
                        <a:lnTo>
                          <a:pt x="11" y="7"/>
                        </a:lnTo>
                        <a:lnTo>
                          <a:pt x="11" y="7"/>
                        </a:lnTo>
                        <a:lnTo>
                          <a:pt x="16" y="5"/>
                        </a:lnTo>
                        <a:lnTo>
                          <a:pt x="16" y="5"/>
                        </a:lnTo>
                        <a:lnTo>
                          <a:pt x="16" y="3"/>
                        </a:lnTo>
                        <a:lnTo>
                          <a:pt x="16" y="3"/>
                        </a:lnTo>
                        <a:lnTo>
                          <a:pt x="16" y="3"/>
                        </a:lnTo>
                        <a:lnTo>
                          <a:pt x="16" y="3"/>
                        </a:lnTo>
                        <a:lnTo>
                          <a:pt x="14" y="0"/>
                        </a:lnTo>
                        <a:lnTo>
                          <a:pt x="14" y="0"/>
                        </a:lnTo>
                        <a:lnTo>
                          <a:pt x="14" y="0"/>
                        </a:lnTo>
                        <a:lnTo>
                          <a:pt x="14" y="0"/>
                        </a:lnTo>
                        <a:lnTo>
                          <a:pt x="14" y="0"/>
                        </a:lnTo>
                        <a:lnTo>
                          <a:pt x="14" y="0"/>
                        </a:lnTo>
                        <a:lnTo>
                          <a:pt x="16" y="0"/>
                        </a:lnTo>
                        <a:lnTo>
                          <a:pt x="16" y="0"/>
                        </a:lnTo>
                        <a:lnTo>
                          <a:pt x="16" y="0"/>
                        </a:lnTo>
                        <a:lnTo>
                          <a:pt x="16" y="0"/>
                        </a:lnTo>
                        <a:lnTo>
                          <a:pt x="16" y="3"/>
                        </a:lnTo>
                        <a:lnTo>
                          <a:pt x="16" y="3"/>
                        </a:lnTo>
                        <a:lnTo>
                          <a:pt x="16" y="5"/>
                        </a:lnTo>
                        <a:lnTo>
                          <a:pt x="16" y="5"/>
                        </a:lnTo>
                        <a:lnTo>
                          <a:pt x="14" y="15"/>
                        </a:lnTo>
                        <a:lnTo>
                          <a:pt x="14" y="15"/>
                        </a:lnTo>
                        <a:lnTo>
                          <a:pt x="11" y="17"/>
                        </a:lnTo>
                        <a:lnTo>
                          <a:pt x="11" y="17"/>
                        </a:lnTo>
                        <a:lnTo>
                          <a:pt x="11" y="17"/>
                        </a:lnTo>
                        <a:lnTo>
                          <a:pt x="11" y="17"/>
                        </a:lnTo>
                        <a:lnTo>
                          <a:pt x="9" y="19"/>
                        </a:lnTo>
                        <a:lnTo>
                          <a:pt x="9" y="19"/>
                        </a:lnTo>
                        <a:lnTo>
                          <a:pt x="9" y="19"/>
                        </a:lnTo>
                        <a:lnTo>
                          <a:pt x="9" y="19"/>
                        </a:lnTo>
                        <a:lnTo>
                          <a:pt x="9" y="19"/>
                        </a:lnTo>
                        <a:lnTo>
                          <a:pt x="9" y="19"/>
                        </a:lnTo>
                        <a:close/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83" name="Freeform 1242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5629275" y="4875213"/>
                    <a:ext cx="31750" cy="20638"/>
                  </a:xfrm>
                  <a:custGeom>
                    <a:avLst/>
                    <a:gdLst/>
                    <a:ahLst/>
                    <a:cxnLst>
                      <a:cxn ang="0">
                        <a:pos x="3" y="9"/>
                      </a:cxn>
                      <a:cxn ang="0">
                        <a:pos x="0" y="9"/>
                      </a:cxn>
                      <a:cxn ang="0">
                        <a:pos x="3" y="9"/>
                      </a:cxn>
                      <a:cxn ang="0">
                        <a:pos x="3" y="9"/>
                      </a:cxn>
                      <a:cxn ang="0">
                        <a:pos x="3" y="9"/>
                      </a:cxn>
                      <a:cxn ang="0">
                        <a:pos x="5" y="9"/>
                      </a:cxn>
                      <a:cxn ang="0">
                        <a:pos x="5" y="9"/>
                      </a:cxn>
                      <a:cxn ang="0">
                        <a:pos x="10" y="9"/>
                      </a:cxn>
                      <a:cxn ang="0">
                        <a:pos x="10" y="9"/>
                      </a:cxn>
                      <a:cxn ang="0">
                        <a:pos x="10" y="9"/>
                      </a:cxn>
                      <a:cxn ang="0">
                        <a:pos x="12" y="7"/>
                      </a:cxn>
                      <a:cxn ang="0">
                        <a:pos x="15" y="5"/>
                      </a:cxn>
                      <a:cxn ang="0">
                        <a:pos x="15" y="5"/>
                      </a:cxn>
                      <a:cxn ang="0">
                        <a:pos x="15" y="5"/>
                      </a:cxn>
                      <a:cxn ang="0">
                        <a:pos x="15" y="2"/>
                      </a:cxn>
                      <a:cxn ang="0">
                        <a:pos x="15" y="2"/>
                      </a:cxn>
                      <a:cxn ang="0">
                        <a:pos x="12" y="0"/>
                      </a:cxn>
                      <a:cxn ang="0">
                        <a:pos x="15" y="0"/>
                      </a:cxn>
                      <a:cxn ang="0">
                        <a:pos x="15" y="0"/>
                      </a:cxn>
                      <a:cxn ang="0">
                        <a:pos x="15" y="0"/>
                      </a:cxn>
                      <a:cxn ang="0">
                        <a:pos x="15" y="0"/>
                      </a:cxn>
                      <a:cxn ang="0">
                        <a:pos x="15" y="2"/>
                      </a:cxn>
                      <a:cxn ang="0">
                        <a:pos x="15" y="2"/>
                      </a:cxn>
                      <a:cxn ang="0">
                        <a:pos x="17" y="7"/>
                      </a:cxn>
                      <a:cxn ang="0">
                        <a:pos x="17" y="7"/>
                      </a:cxn>
                      <a:cxn ang="0">
                        <a:pos x="17" y="7"/>
                      </a:cxn>
                      <a:cxn ang="0">
                        <a:pos x="17" y="7"/>
                      </a:cxn>
                      <a:cxn ang="0">
                        <a:pos x="17" y="7"/>
                      </a:cxn>
                      <a:cxn ang="0">
                        <a:pos x="17" y="7"/>
                      </a:cxn>
                      <a:cxn ang="0">
                        <a:pos x="17" y="7"/>
                      </a:cxn>
                      <a:cxn ang="0">
                        <a:pos x="19" y="7"/>
                      </a:cxn>
                      <a:cxn ang="0">
                        <a:pos x="17" y="9"/>
                      </a:cxn>
                      <a:cxn ang="0">
                        <a:pos x="17" y="9"/>
                      </a:cxn>
                      <a:cxn ang="0">
                        <a:pos x="15" y="12"/>
                      </a:cxn>
                      <a:cxn ang="0">
                        <a:pos x="7" y="12"/>
                      </a:cxn>
                      <a:cxn ang="0">
                        <a:pos x="7" y="12"/>
                      </a:cxn>
                      <a:cxn ang="0">
                        <a:pos x="7" y="12"/>
                      </a:cxn>
                      <a:cxn ang="0">
                        <a:pos x="5" y="12"/>
                      </a:cxn>
                      <a:cxn ang="0">
                        <a:pos x="5" y="12"/>
                      </a:cxn>
                      <a:cxn ang="0">
                        <a:pos x="5" y="12"/>
                      </a:cxn>
                    </a:cxnLst>
                    <a:rect l="0" t="0" r="r" b="b"/>
                    <a:pathLst>
                      <a:path w="19" h="12">
                        <a:moveTo>
                          <a:pt x="5" y="12"/>
                        </a:moveTo>
                        <a:lnTo>
                          <a:pt x="3" y="9"/>
                        </a:lnTo>
                        <a:lnTo>
                          <a:pt x="3" y="9"/>
                        </a:lnTo>
                        <a:lnTo>
                          <a:pt x="0" y="9"/>
                        </a:lnTo>
                        <a:lnTo>
                          <a:pt x="0" y="9"/>
                        </a:lnTo>
                        <a:lnTo>
                          <a:pt x="3" y="9"/>
                        </a:lnTo>
                        <a:lnTo>
                          <a:pt x="3" y="9"/>
                        </a:lnTo>
                        <a:lnTo>
                          <a:pt x="3" y="9"/>
                        </a:lnTo>
                        <a:lnTo>
                          <a:pt x="3" y="9"/>
                        </a:lnTo>
                        <a:lnTo>
                          <a:pt x="3" y="9"/>
                        </a:lnTo>
                        <a:lnTo>
                          <a:pt x="3" y="9"/>
                        </a:lnTo>
                        <a:lnTo>
                          <a:pt x="5" y="9"/>
                        </a:lnTo>
                        <a:lnTo>
                          <a:pt x="5" y="9"/>
                        </a:lnTo>
                        <a:lnTo>
                          <a:pt x="5" y="9"/>
                        </a:lnTo>
                        <a:lnTo>
                          <a:pt x="5" y="9"/>
                        </a:lnTo>
                        <a:lnTo>
                          <a:pt x="10" y="9"/>
                        </a:lnTo>
                        <a:lnTo>
                          <a:pt x="10" y="9"/>
                        </a:lnTo>
                        <a:lnTo>
                          <a:pt x="10" y="9"/>
                        </a:lnTo>
                        <a:lnTo>
                          <a:pt x="10" y="9"/>
                        </a:lnTo>
                        <a:lnTo>
                          <a:pt x="10" y="9"/>
                        </a:lnTo>
                        <a:lnTo>
                          <a:pt x="10" y="9"/>
                        </a:lnTo>
                        <a:lnTo>
                          <a:pt x="12" y="7"/>
                        </a:lnTo>
                        <a:lnTo>
                          <a:pt x="12" y="7"/>
                        </a:lnTo>
                        <a:lnTo>
                          <a:pt x="15" y="5"/>
                        </a:lnTo>
                        <a:lnTo>
                          <a:pt x="15" y="5"/>
                        </a:lnTo>
                        <a:lnTo>
                          <a:pt x="15" y="5"/>
                        </a:lnTo>
                        <a:lnTo>
                          <a:pt x="15" y="5"/>
                        </a:lnTo>
                        <a:lnTo>
                          <a:pt x="15" y="5"/>
                        </a:lnTo>
                        <a:lnTo>
                          <a:pt x="15" y="5"/>
                        </a:lnTo>
                        <a:lnTo>
                          <a:pt x="15" y="2"/>
                        </a:lnTo>
                        <a:lnTo>
                          <a:pt x="15" y="2"/>
                        </a:lnTo>
                        <a:lnTo>
                          <a:pt x="15" y="2"/>
                        </a:lnTo>
                        <a:lnTo>
                          <a:pt x="15" y="2"/>
                        </a:lnTo>
                        <a:lnTo>
                          <a:pt x="12" y="0"/>
                        </a:lnTo>
                        <a:lnTo>
                          <a:pt x="12" y="0"/>
                        </a:lnTo>
                        <a:lnTo>
                          <a:pt x="15" y="0"/>
                        </a:lnTo>
                        <a:lnTo>
                          <a:pt x="15" y="0"/>
                        </a:lnTo>
                        <a:lnTo>
                          <a:pt x="15" y="0"/>
                        </a:lnTo>
                        <a:lnTo>
                          <a:pt x="15" y="0"/>
                        </a:lnTo>
                        <a:lnTo>
                          <a:pt x="15" y="0"/>
                        </a:lnTo>
                        <a:lnTo>
                          <a:pt x="15" y="0"/>
                        </a:lnTo>
                        <a:lnTo>
                          <a:pt x="15" y="0"/>
                        </a:lnTo>
                        <a:lnTo>
                          <a:pt x="15" y="0"/>
                        </a:lnTo>
                        <a:lnTo>
                          <a:pt x="15" y="2"/>
                        </a:lnTo>
                        <a:lnTo>
                          <a:pt x="15" y="2"/>
                        </a:lnTo>
                        <a:lnTo>
                          <a:pt x="15" y="2"/>
                        </a:lnTo>
                        <a:lnTo>
                          <a:pt x="15" y="2"/>
                        </a:lnTo>
                        <a:lnTo>
                          <a:pt x="17" y="7"/>
                        </a:lnTo>
                        <a:lnTo>
                          <a:pt x="17" y="7"/>
                        </a:lnTo>
                        <a:lnTo>
                          <a:pt x="17" y="7"/>
                        </a:lnTo>
                        <a:lnTo>
                          <a:pt x="17" y="7"/>
                        </a:lnTo>
                        <a:lnTo>
                          <a:pt x="17" y="7"/>
                        </a:lnTo>
                        <a:lnTo>
                          <a:pt x="17" y="7"/>
                        </a:lnTo>
                        <a:lnTo>
                          <a:pt x="17" y="7"/>
                        </a:lnTo>
                        <a:lnTo>
                          <a:pt x="17" y="7"/>
                        </a:lnTo>
                        <a:lnTo>
                          <a:pt x="17" y="7"/>
                        </a:lnTo>
                        <a:lnTo>
                          <a:pt x="17" y="7"/>
                        </a:lnTo>
                        <a:lnTo>
                          <a:pt x="17" y="7"/>
                        </a:lnTo>
                        <a:lnTo>
                          <a:pt x="17" y="7"/>
                        </a:lnTo>
                        <a:lnTo>
                          <a:pt x="17" y="7"/>
                        </a:lnTo>
                        <a:lnTo>
                          <a:pt x="17" y="7"/>
                        </a:lnTo>
                        <a:lnTo>
                          <a:pt x="19" y="7"/>
                        </a:lnTo>
                        <a:lnTo>
                          <a:pt x="19" y="7"/>
                        </a:lnTo>
                        <a:lnTo>
                          <a:pt x="17" y="9"/>
                        </a:lnTo>
                        <a:lnTo>
                          <a:pt x="17" y="9"/>
                        </a:lnTo>
                        <a:lnTo>
                          <a:pt x="17" y="9"/>
                        </a:lnTo>
                        <a:lnTo>
                          <a:pt x="17" y="9"/>
                        </a:lnTo>
                        <a:lnTo>
                          <a:pt x="15" y="12"/>
                        </a:lnTo>
                        <a:lnTo>
                          <a:pt x="15" y="12"/>
                        </a:lnTo>
                        <a:lnTo>
                          <a:pt x="7" y="12"/>
                        </a:lnTo>
                        <a:lnTo>
                          <a:pt x="7" y="12"/>
                        </a:lnTo>
                        <a:lnTo>
                          <a:pt x="7" y="12"/>
                        </a:lnTo>
                        <a:lnTo>
                          <a:pt x="7" y="12"/>
                        </a:lnTo>
                        <a:lnTo>
                          <a:pt x="7" y="12"/>
                        </a:lnTo>
                        <a:lnTo>
                          <a:pt x="7" y="12"/>
                        </a:lnTo>
                        <a:lnTo>
                          <a:pt x="5" y="12"/>
                        </a:lnTo>
                        <a:lnTo>
                          <a:pt x="5" y="12"/>
                        </a:lnTo>
                        <a:lnTo>
                          <a:pt x="5" y="12"/>
                        </a:lnTo>
                        <a:lnTo>
                          <a:pt x="5" y="12"/>
                        </a:lnTo>
                        <a:lnTo>
                          <a:pt x="5" y="12"/>
                        </a:lnTo>
                        <a:lnTo>
                          <a:pt x="5" y="12"/>
                        </a:lnTo>
                        <a:close/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84" name="Freeform 1243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6491288" y="5013325"/>
                    <a:ext cx="9525" cy="14288"/>
                  </a:xfrm>
                  <a:custGeom>
                    <a:avLst/>
                    <a:gdLst/>
                    <a:ahLst/>
                    <a:cxnLst>
                      <a:cxn ang="0">
                        <a:pos x="5" y="8"/>
                      </a:cxn>
                      <a:cxn ang="0">
                        <a:pos x="3" y="5"/>
                      </a:cxn>
                      <a:cxn ang="0">
                        <a:pos x="3" y="5"/>
                      </a:cxn>
                      <a:cxn ang="0">
                        <a:pos x="3" y="5"/>
                      </a:cxn>
                      <a:cxn ang="0">
                        <a:pos x="3" y="5"/>
                      </a:cxn>
                      <a:cxn ang="0">
                        <a:pos x="3" y="3"/>
                      </a:cxn>
                      <a:cxn ang="0">
                        <a:pos x="3" y="3"/>
                      </a:cxn>
                      <a:cxn ang="0">
                        <a:pos x="3" y="3"/>
                      </a:cxn>
                      <a:cxn ang="0">
                        <a:pos x="3" y="3"/>
                      </a:cxn>
                      <a:cxn ang="0">
                        <a:pos x="0" y="3"/>
                      </a:cxn>
                      <a:cxn ang="0">
                        <a:pos x="0" y="3"/>
                      </a:cxn>
                      <a:cxn ang="0">
                        <a:pos x="0" y="3"/>
                      </a:cxn>
                      <a:cxn ang="0">
                        <a:pos x="0" y="3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3" y="0"/>
                      </a:cxn>
                      <a:cxn ang="0">
                        <a:pos x="3" y="0"/>
                      </a:cxn>
                      <a:cxn ang="0">
                        <a:pos x="3" y="0"/>
                      </a:cxn>
                      <a:cxn ang="0">
                        <a:pos x="3" y="0"/>
                      </a:cxn>
                      <a:cxn ang="0">
                        <a:pos x="5" y="5"/>
                      </a:cxn>
                      <a:cxn ang="0">
                        <a:pos x="5" y="5"/>
                      </a:cxn>
                      <a:cxn ang="0">
                        <a:pos x="5" y="8"/>
                      </a:cxn>
                      <a:cxn ang="0">
                        <a:pos x="5" y="8"/>
                      </a:cxn>
                      <a:cxn ang="0">
                        <a:pos x="5" y="8"/>
                      </a:cxn>
                      <a:cxn ang="0">
                        <a:pos x="5" y="8"/>
                      </a:cxn>
                    </a:cxnLst>
                    <a:rect l="0" t="0" r="r" b="b"/>
                    <a:pathLst>
                      <a:path w="5" h="8">
                        <a:moveTo>
                          <a:pt x="5" y="8"/>
                        </a:move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5" y="5"/>
                        </a:lnTo>
                        <a:lnTo>
                          <a:pt x="5" y="5"/>
                        </a:lnTo>
                        <a:lnTo>
                          <a:pt x="5" y="8"/>
                        </a:lnTo>
                        <a:lnTo>
                          <a:pt x="5" y="8"/>
                        </a:lnTo>
                        <a:lnTo>
                          <a:pt x="5" y="8"/>
                        </a:lnTo>
                        <a:lnTo>
                          <a:pt x="5" y="8"/>
                        </a:lnTo>
                        <a:close/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85" name="Freeform 1244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7046913" y="5030788"/>
                    <a:ext cx="77787" cy="61913"/>
                  </a:xfrm>
                  <a:custGeom>
                    <a:avLst/>
                    <a:gdLst/>
                    <a:ahLst/>
                    <a:cxnLst>
                      <a:cxn ang="0">
                        <a:pos x="0" y="35"/>
                      </a:cxn>
                      <a:cxn ang="0">
                        <a:pos x="0" y="33"/>
                      </a:cxn>
                      <a:cxn ang="0">
                        <a:pos x="0" y="33"/>
                      </a:cxn>
                      <a:cxn ang="0">
                        <a:pos x="0" y="31"/>
                      </a:cxn>
                      <a:cxn ang="0">
                        <a:pos x="2" y="31"/>
                      </a:cxn>
                      <a:cxn ang="0">
                        <a:pos x="5" y="31"/>
                      </a:cxn>
                      <a:cxn ang="0">
                        <a:pos x="7" y="28"/>
                      </a:cxn>
                      <a:cxn ang="0">
                        <a:pos x="10" y="21"/>
                      </a:cxn>
                      <a:cxn ang="0">
                        <a:pos x="17" y="16"/>
                      </a:cxn>
                      <a:cxn ang="0">
                        <a:pos x="21" y="9"/>
                      </a:cxn>
                      <a:cxn ang="0">
                        <a:pos x="31" y="5"/>
                      </a:cxn>
                      <a:cxn ang="0">
                        <a:pos x="43" y="0"/>
                      </a:cxn>
                      <a:cxn ang="0">
                        <a:pos x="45" y="0"/>
                      </a:cxn>
                      <a:cxn ang="0">
                        <a:pos x="45" y="0"/>
                      </a:cxn>
                      <a:cxn ang="0">
                        <a:pos x="47" y="0"/>
                      </a:cxn>
                      <a:cxn ang="0">
                        <a:pos x="47" y="0"/>
                      </a:cxn>
                      <a:cxn ang="0">
                        <a:pos x="47" y="2"/>
                      </a:cxn>
                      <a:cxn ang="0">
                        <a:pos x="47" y="12"/>
                      </a:cxn>
                      <a:cxn ang="0">
                        <a:pos x="45" y="16"/>
                      </a:cxn>
                      <a:cxn ang="0">
                        <a:pos x="40" y="19"/>
                      </a:cxn>
                      <a:cxn ang="0">
                        <a:pos x="38" y="16"/>
                      </a:cxn>
                      <a:cxn ang="0">
                        <a:pos x="38" y="16"/>
                      </a:cxn>
                      <a:cxn ang="0">
                        <a:pos x="38" y="19"/>
                      </a:cxn>
                      <a:cxn ang="0">
                        <a:pos x="33" y="24"/>
                      </a:cxn>
                      <a:cxn ang="0">
                        <a:pos x="31" y="26"/>
                      </a:cxn>
                      <a:cxn ang="0">
                        <a:pos x="26" y="28"/>
                      </a:cxn>
                      <a:cxn ang="0">
                        <a:pos x="24" y="28"/>
                      </a:cxn>
                      <a:cxn ang="0">
                        <a:pos x="24" y="28"/>
                      </a:cxn>
                      <a:cxn ang="0">
                        <a:pos x="14" y="31"/>
                      </a:cxn>
                      <a:cxn ang="0">
                        <a:pos x="12" y="33"/>
                      </a:cxn>
                      <a:cxn ang="0">
                        <a:pos x="12" y="35"/>
                      </a:cxn>
                      <a:cxn ang="0">
                        <a:pos x="10" y="35"/>
                      </a:cxn>
                      <a:cxn ang="0">
                        <a:pos x="10" y="38"/>
                      </a:cxn>
                      <a:cxn ang="0">
                        <a:pos x="7" y="38"/>
                      </a:cxn>
                      <a:cxn ang="0">
                        <a:pos x="0" y="38"/>
                      </a:cxn>
                      <a:cxn ang="0">
                        <a:pos x="0" y="38"/>
                      </a:cxn>
                    </a:cxnLst>
                    <a:rect l="0" t="0" r="r" b="b"/>
                    <a:pathLst>
                      <a:path w="47" h="38">
                        <a:moveTo>
                          <a:pt x="0" y="38"/>
                        </a:moveTo>
                        <a:lnTo>
                          <a:pt x="0" y="35"/>
                        </a:lnTo>
                        <a:lnTo>
                          <a:pt x="0" y="35"/>
                        </a:lnTo>
                        <a:lnTo>
                          <a:pt x="0" y="33"/>
                        </a:lnTo>
                        <a:lnTo>
                          <a:pt x="0" y="33"/>
                        </a:lnTo>
                        <a:lnTo>
                          <a:pt x="0" y="33"/>
                        </a:lnTo>
                        <a:lnTo>
                          <a:pt x="0" y="33"/>
                        </a:lnTo>
                        <a:lnTo>
                          <a:pt x="0" y="31"/>
                        </a:lnTo>
                        <a:lnTo>
                          <a:pt x="0" y="31"/>
                        </a:lnTo>
                        <a:lnTo>
                          <a:pt x="2" y="31"/>
                        </a:lnTo>
                        <a:lnTo>
                          <a:pt x="2" y="31"/>
                        </a:lnTo>
                        <a:lnTo>
                          <a:pt x="5" y="31"/>
                        </a:lnTo>
                        <a:lnTo>
                          <a:pt x="5" y="31"/>
                        </a:lnTo>
                        <a:lnTo>
                          <a:pt x="7" y="28"/>
                        </a:lnTo>
                        <a:lnTo>
                          <a:pt x="7" y="28"/>
                        </a:lnTo>
                        <a:lnTo>
                          <a:pt x="10" y="21"/>
                        </a:lnTo>
                        <a:lnTo>
                          <a:pt x="10" y="21"/>
                        </a:lnTo>
                        <a:lnTo>
                          <a:pt x="17" y="16"/>
                        </a:lnTo>
                        <a:lnTo>
                          <a:pt x="17" y="16"/>
                        </a:lnTo>
                        <a:lnTo>
                          <a:pt x="21" y="9"/>
                        </a:lnTo>
                        <a:lnTo>
                          <a:pt x="21" y="9"/>
                        </a:lnTo>
                        <a:lnTo>
                          <a:pt x="31" y="5"/>
                        </a:lnTo>
                        <a:lnTo>
                          <a:pt x="31" y="5"/>
                        </a:lnTo>
                        <a:lnTo>
                          <a:pt x="43" y="0"/>
                        </a:lnTo>
                        <a:lnTo>
                          <a:pt x="43" y="0"/>
                        </a:lnTo>
                        <a:lnTo>
                          <a:pt x="45" y="0"/>
                        </a:lnTo>
                        <a:lnTo>
                          <a:pt x="45" y="0"/>
                        </a:lnTo>
                        <a:lnTo>
                          <a:pt x="45" y="0"/>
                        </a:lnTo>
                        <a:lnTo>
                          <a:pt x="45" y="0"/>
                        </a:lnTo>
                        <a:lnTo>
                          <a:pt x="47" y="0"/>
                        </a:lnTo>
                        <a:lnTo>
                          <a:pt x="47" y="0"/>
                        </a:lnTo>
                        <a:lnTo>
                          <a:pt x="47" y="0"/>
                        </a:lnTo>
                        <a:lnTo>
                          <a:pt x="47" y="0"/>
                        </a:lnTo>
                        <a:lnTo>
                          <a:pt x="47" y="2"/>
                        </a:lnTo>
                        <a:lnTo>
                          <a:pt x="47" y="2"/>
                        </a:lnTo>
                        <a:lnTo>
                          <a:pt x="47" y="12"/>
                        </a:lnTo>
                        <a:lnTo>
                          <a:pt x="47" y="12"/>
                        </a:lnTo>
                        <a:lnTo>
                          <a:pt x="45" y="16"/>
                        </a:lnTo>
                        <a:lnTo>
                          <a:pt x="45" y="16"/>
                        </a:lnTo>
                        <a:lnTo>
                          <a:pt x="40" y="19"/>
                        </a:lnTo>
                        <a:lnTo>
                          <a:pt x="40" y="19"/>
                        </a:lnTo>
                        <a:lnTo>
                          <a:pt x="38" y="16"/>
                        </a:lnTo>
                        <a:lnTo>
                          <a:pt x="38" y="16"/>
                        </a:lnTo>
                        <a:lnTo>
                          <a:pt x="38" y="16"/>
                        </a:lnTo>
                        <a:lnTo>
                          <a:pt x="38" y="16"/>
                        </a:lnTo>
                        <a:lnTo>
                          <a:pt x="38" y="19"/>
                        </a:lnTo>
                        <a:lnTo>
                          <a:pt x="38" y="19"/>
                        </a:lnTo>
                        <a:lnTo>
                          <a:pt x="33" y="24"/>
                        </a:lnTo>
                        <a:lnTo>
                          <a:pt x="33" y="24"/>
                        </a:lnTo>
                        <a:lnTo>
                          <a:pt x="31" y="26"/>
                        </a:lnTo>
                        <a:lnTo>
                          <a:pt x="31" y="26"/>
                        </a:lnTo>
                        <a:lnTo>
                          <a:pt x="26" y="28"/>
                        </a:lnTo>
                        <a:lnTo>
                          <a:pt x="26" y="28"/>
                        </a:lnTo>
                        <a:lnTo>
                          <a:pt x="24" y="28"/>
                        </a:lnTo>
                        <a:lnTo>
                          <a:pt x="24" y="28"/>
                        </a:lnTo>
                        <a:lnTo>
                          <a:pt x="24" y="28"/>
                        </a:lnTo>
                        <a:lnTo>
                          <a:pt x="24" y="28"/>
                        </a:lnTo>
                        <a:lnTo>
                          <a:pt x="14" y="31"/>
                        </a:lnTo>
                        <a:lnTo>
                          <a:pt x="14" y="31"/>
                        </a:lnTo>
                        <a:lnTo>
                          <a:pt x="12" y="33"/>
                        </a:lnTo>
                        <a:lnTo>
                          <a:pt x="12" y="33"/>
                        </a:lnTo>
                        <a:lnTo>
                          <a:pt x="12" y="35"/>
                        </a:lnTo>
                        <a:lnTo>
                          <a:pt x="12" y="35"/>
                        </a:lnTo>
                        <a:lnTo>
                          <a:pt x="10" y="35"/>
                        </a:lnTo>
                        <a:lnTo>
                          <a:pt x="10" y="35"/>
                        </a:lnTo>
                        <a:lnTo>
                          <a:pt x="10" y="38"/>
                        </a:lnTo>
                        <a:lnTo>
                          <a:pt x="10" y="38"/>
                        </a:lnTo>
                        <a:lnTo>
                          <a:pt x="7" y="38"/>
                        </a:lnTo>
                        <a:lnTo>
                          <a:pt x="7" y="38"/>
                        </a:lnTo>
                        <a:lnTo>
                          <a:pt x="0" y="38"/>
                        </a:lnTo>
                        <a:lnTo>
                          <a:pt x="0" y="38"/>
                        </a:lnTo>
                        <a:lnTo>
                          <a:pt x="0" y="38"/>
                        </a:lnTo>
                        <a:lnTo>
                          <a:pt x="0" y="38"/>
                        </a:lnTo>
                        <a:close/>
                      </a:path>
                    </a:pathLst>
                  </a:custGeom>
                  <a:solidFill>
                    <a:srgbClr val="660066"/>
                  </a:solidFill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86" name="Freeform 1245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6183313" y="5086350"/>
                    <a:ext cx="153987" cy="93663"/>
                  </a:xfrm>
                  <a:custGeom>
                    <a:avLst/>
                    <a:gdLst/>
                    <a:ahLst/>
                    <a:cxnLst>
                      <a:cxn ang="0">
                        <a:pos x="0" y="35"/>
                      </a:cxn>
                      <a:cxn ang="0">
                        <a:pos x="2" y="33"/>
                      </a:cxn>
                      <a:cxn ang="0">
                        <a:pos x="5" y="26"/>
                      </a:cxn>
                      <a:cxn ang="0">
                        <a:pos x="10" y="21"/>
                      </a:cxn>
                      <a:cxn ang="0">
                        <a:pos x="17" y="19"/>
                      </a:cxn>
                      <a:cxn ang="0">
                        <a:pos x="31" y="14"/>
                      </a:cxn>
                      <a:cxn ang="0">
                        <a:pos x="31" y="14"/>
                      </a:cxn>
                      <a:cxn ang="0">
                        <a:pos x="31" y="17"/>
                      </a:cxn>
                      <a:cxn ang="0">
                        <a:pos x="33" y="17"/>
                      </a:cxn>
                      <a:cxn ang="0">
                        <a:pos x="33" y="19"/>
                      </a:cxn>
                      <a:cxn ang="0">
                        <a:pos x="31" y="19"/>
                      </a:cxn>
                      <a:cxn ang="0">
                        <a:pos x="31" y="21"/>
                      </a:cxn>
                      <a:cxn ang="0">
                        <a:pos x="31" y="24"/>
                      </a:cxn>
                      <a:cxn ang="0">
                        <a:pos x="33" y="24"/>
                      </a:cxn>
                      <a:cxn ang="0">
                        <a:pos x="38" y="28"/>
                      </a:cxn>
                      <a:cxn ang="0">
                        <a:pos x="40" y="31"/>
                      </a:cxn>
                      <a:cxn ang="0">
                        <a:pos x="45" y="33"/>
                      </a:cxn>
                      <a:cxn ang="0">
                        <a:pos x="50" y="33"/>
                      </a:cxn>
                      <a:cxn ang="0">
                        <a:pos x="52" y="33"/>
                      </a:cxn>
                      <a:cxn ang="0">
                        <a:pos x="57" y="31"/>
                      </a:cxn>
                      <a:cxn ang="0">
                        <a:pos x="57" y="31"/>
                      </a:cxn>
                      <a:cxn ang="0">
                        <a:pos x="57" y="26"/>
                      </a:cxn>
                      <a:cxn ang="0">
                        <a:pos x="59" y="24"/>
                      </a:cxn>
                      <a:cxn ang="0">
                        <a:pos x="57" y="21"/>
                      </a:cxn>
                      <a:cxn ang="0">
                        <a:pos x="59" y="19"/>
                      </a:cxn>
                      <a:cxn ang="0">
                        <a:pos x="59" y="19"/>
                      </a:cxn>
                      <a:cxn ang="0">
                        <a:pos x="64" y="14"/>
                      </a:cxn>
                      <a:cxn ang="0">
                        <a:pos x="69" y="9"/>
                      </a:cxn>
                      <a:cxn ang="0">
                        <a:pos x="73" y="5"/>
                      </a:cxn>
                      <a:cxn ang="0">
                        <a:pos x="76" y="0"/>
                      </a:cxn>
                      <a:cxn ang="0">
                        <a:pos x="78" y="0"/>
                      </a:cxn>
                      <a:cxn ang="0">
                        <a:pos x="83" y="7"/>
                      </a:cxn>
                      <a:cxn ang="0">
                        <a:pos x="83" y="9"/>
                      </a:cxn>
                      <a:cxn ang="0">
                        <a:pos x="83" y="12"/>
                      </a:cxn>
                      <a:cxn ang="0">
                        <a:pos x="88" y="26"/>
                      </a:cxn>
                      <a:cxn ang="0">
                        <a:pos x="92" y="31"/>
                      </a:cxn>
                      <a:cxn ang="0">
                        <a:pos x="92" y="35"/>
                      </a:cxn>
                      <a:cxn ang="0">
                        <a:pos x="90" y="35"/>
                      </a:cxn>
                      <a:cxn ang="0">
                        <a:pos x="90" y="35"/>
                      </a:cxn>
                      <a:cxn ang="0">
                        <a:pos x="85" y="35"/>
                      </a:cxn>
                      <a:cxn ang="0">
                        <a:pos x="78" y="43"/>
                      </a:cxn>
                      <a:cxn ang="0">
                        <a:pos x="76" y="45"/>
                      </a:cxn>
                      <a:cxn ang="0">
                        <a:pos x="76" y="45"/>
                      </a:cxn>
                      <a:cxn ang="0">
                        <a:pos x="76" y="50"/>
                      </a:cxn>
                      <a:cxn ang="0">
                        <a:pos x="69" y="50"/>
                      </a:cxn>
                      <a:cxn ang="0">
                        <a:pos x="66" y="50"/>
                      </a:cxn>
                      <a:cxn ang="0">
                        <a:pos x="64" y="50"/>
                      </a:cxn>
                      <a:cxn ang="0">
                        <a:pos x="54" y="54"/>
                      </a:cxn>
                      <a:cxn ang="0">
                        <a:pos x="52" y="57"/>
                      </a:cxn>
                      <a:cxn ang="0">
                        <a:pos x="52" y="54"/>
                      </a:cxn>
                      <a:cxn ang="0">
                        <a:pos x="52" y="52"/>
                      </a:cxn>
                      <a:cxn ang="0">
                        <a:pos x="40" y="40"/>
                      </a:cxn>
                      <a:cxn ang="0">
                        <a:pos x="36" y="38"/>
                      </a:cxn>
                      <a:cxn ang="0">
                        <a:pos x="36" y="38"/>
                      </a:cxn>
                      <a:cxn ang="0">
                        <a:pos x="33" y="40"/>
                      </a:cxn>
                      <a:cxn ang="0">
                        <a:pos x="33" y="43"/>
                      </a:cxn>
                      <a:cxn ang="0">
                        <a:pos x="28" y="43"/>
                      </a:cxn>
                      <a:cxn ang="0">
                        <a:pos x="26" y="43"/>
                      </a:cxn>
                      <a:cxn ang="0">
                        <a:pos x="10" y="40"/>
                      </a:cxn>
                      <a:cxn ang="0">
                        <a:pos x="2" y="35"/>
                      </a:cxn>
                      <a:cxn ang="0">
                        <a:pos x="2" y="35"/>
                      </a:cxn>
                    </a:cxnLst>
                    <a:rect l="0" t="0" r="r" b="b"/>
                    <a:pathLst>
                      <a:path w="92" h="57">
                        <a:moveTo>
                          <a:pt x="2" y="35"/>
                        </a:moveTo>
                        <a:lnTo>
                          <a:pt x="0" y="35"/>
                        </a:lnTo>
                        <a:lnTo>
                          <a:pt x="0" y="35"/>
                        </a:lnTo>
                        <a:lnTo>
                          <a:pt x="2" y="33"/>
                        </a:lnTo>
                        <a:lnTo>
                          <a:pt x="2" y="33"/>
                        </a:lnTo>
                        <a:lnTo>
                          <a:pt x="5" y="26"/>
                        </a:lnTo>
                        <a:lnTo>
                          <a:pt x="5" y="26"/>
                        </a:lnTo>
                        <a:lnTo>
                          <a:pt x="10" y="21"/>
                        </a:lnTo>
                        <a:lnTo>
                          <a:pt x="10" y="21"/>
                        </a:lnTo>
                        <a:lnTo>
                          <a:pt x="17" y="19"/>
                        </a:lnTo>
                        <a:lnTo>
                          <a:pt x="17" y="19"/>
                        </a:lnTo>
                        <a:lnTo>
                          <a:pt x="31" y="14"/>
                        </a:lnTo>
                        <a:lnTo>
                          <a:pt x="31" y="14"/>
                        </a:lnTo>
                        <a:lnTo>
                          <a:pt x="31" y="14"/>
                        </a:lnTo>
                        <a:lnTo>
                          <a:pt x="31" y="14"/>
                        </a:lnTo>
                        <a:lnTo>
                          <a:pt x="31" y="17"/>
                        </a:lnTo>
                        <a:lnTo>
                          <a:pt x="31" y="17"/>
                        </a:lnTo>
                        <a:lnTo>
                          <a:pt x="33" y="17"/>
                        </a:lnTo>
                        <a:lnTo>
                          <a:pt x="33" y="17"/>
                        </a:lnTo>
                        <a:lnTo>
                          <a:pt x="33" y="19"/>
                        </a:lnTo>
                        <a:lnTo>
                          <a:pt x="33" y="19"/>
                        </a:lnTo>
                        <a:lnTo>
                          <a:pt x="31" y="19"/>
                        </a:lnTo>
                        <a:lnTo>
                          <a:pt x="31" y="19"/>
                        </a:lnTo>
                        <a:lnTo>
                          <a:pt x="31" y="21"/>
                        </a:lnTo>
                        <a:lnTo>
                          <a:pt x="31" y="21"/>
                        </a:lnTo>
                        <a:lnTo>
                          <a:pt x="31" y="24"/>
                        </a:lnTo>
                        <a:lnTo>
                          <a:pt x="31" y="24"/>
                        </a:lnTo>
                        <a:lnTo>
                          <a:pt x="33" y="24"/>
                        </a:lnTo>
                        <a:lnTo>
                          <a:pt x="33" y="24"/>
                        </a:lnTo>
                        <a:lnTo>
                          <a:pt x="38" y="28"/>
                        </a:lnTo>
                        <a:lnTo>
                          <a:pt x="38" y="28"/>
                        </a:lnTo>
                        <a:lnTo>
                          <a:pt x="40" y="31"/>
                        </a:lnTo>
                        <a:lnTo>
                          <a:pt x="40" y="31"/>
                        </a:lnTo>
                        <a:lnTo>
                          <a:pt x="45" y="33"/>
                        </a:lnTo>
                        <a:lnTo>
                          <a:pt x="45" y="33"/>
                        </a:lnTo>
                        <a:lnTo>
                          <a:pt x="50" y="33"/>
                        </a:lnTo>
                        <a:lnTo>
                          <a:pt x="50" y="33"/>
                        </a:lnTo>
                        <a:lnTo>
                          <a:pt x="52" y="33"/>
                        </a:lnTo>
                        <a:lnTo>
                          <a:pt x="52" y="33"/>
                        </a:lnTo>
                        <a:lnTo>
                          <a:pt x="57" y="31"/>
                        </a:lnTo>
                        <a:lnTo>
                          <a:pt x="57" y="31"/>
                        </a:lnTo>
                        <a:lnTo>
                          <a:pt x="57" y="31"/>
                        </a:lnTo>
                        <a:lnTo>
                          <a:pt x="57" y="31"/>
                        </a:lnTo>
                        <a:lnTo>
                          <a:pt x="57" y="26"/>
                        </a:lnTo>
                        <a:lnTo>
                          <a:pt x="57" y="26"/>
                        </a:lnTo>
                        <a:lnTo>
                          <a:pt x="59" y="24"/>
                        </a:lnTo>
                        <a:lnTo>
                          <a:pt x="59" y="24"/>
                        </a:lnTo>
                        <a:lnTo>
                          <a:pt x="57" y="21"/>
                        </a:lnTo>
                        <a:lnTo>
                          <a:pt x="57" y="21"/>
                        </a:lnTo>
                        <a:lnTo>
                          <a:pt x="59" y="19"/>
                        </a:lnTo>
                        <a:lnTo>
                          <a:pt x="59" y="19"/>
                        </a:lnTo>
                        <a:lnTo>
                          <a:pt x="59" y="19"/>
                        </a:lnTo>
                        <a:lnTo>
                          <a:pt x="59" y="19"/>
                        </a:lnTo>
                        <a:lnTo>
                          <a:pt x="64" y="14"/>
                        </a:lnTo>
                        <a:lnTo>
                          <a:pt x="64" y="14"/>
                        </a:lnTo>
                        <a:lnTo>
                          <a:pt x="69" y="9"/>
                        </a:lnTo>
                        <a:lnTo>
                          <a:pt x="69" y="9"/>
                        </a:lnTo>
                        <a:lnTo>
                          <a:pt x="73" y="5"/>
                        </a:lnTo>
                        <a:lnTo>
                          <a:pt x="73" y="5"/>
                        </a:lnTo>
                        <a:lnTo>
                          <a:pt x="76" y="0"/>
                        </a:lnTo>
                        <a:lnTo>
                          <a:pt x="76" y="0"/>
                        </a:lnTo>
                        <a:lnTo>
                          <a:pt x="78" y="0"/>
                        </a:lnTo>
                        <a:lnTo>
                          <a:pt x="78" y="0"/>
                        </a:lnTo>
                        <a:lnTo>
                          <a:pt x="83" y="7"/>
                        </a:lnTo>
                        <a:lnTo>
                          <a:pt x="83" y="7"/>
                        </a:lnTo>
                        <a:lnTo>
                          <a:pt x="83" y="9"/>
                        </a:lnTo>
                        <a:lnTo>
                          <a:pt x="83" y="9"/>
                        </a:lnTo>
                        <a:lnTo>
                          <a:pt x="83" y="12"/>
                        </a:lnTo>
                        <a:lnTo>
                          <a:pt x="83" y="12"/>
                        </a:lnTo>
                        <a:lnTo>
                          <a:pt x="88" y="26"/>
                        </a:lnTo>
                        <a:lnTo>
                          <a:pt x="88" y="26"/>
                        </a:lnTo>
                        <a:lnTo>
                          <a:pt x="92" y="31"/>
                        </a:lnTo>
                        <a:lnTo>
                          <a:pt x="92" y="31"/>
                        </a:lnTo>
                        <a:lnTo>
                          <a:pt x="92" y="35"/>
                        </a:lnTo>
                        <a:lnTo>
                          <a:pt x="92" y="35"/>
                        </a:lnTo>
                        <a:lnTo>
                          <a:pt x="90" y="35"/>
                        </a:lnTo>
                        <a:lnTo>
                          <a:pt x="90" y="35"/>
                        </a:lnTo>
                        <a:lnTo>
                          <a:pt x="90" y="35"/>
                        </a:lnTo>
                        <a:lnTo>
                          <a:pt x="90" y="35"/>
                        </a:lnTo>
                        <a:lnTo>
                          <a:pt x="85" y="35"/>
                        </a:lnTo>
                        <a:lnTo>
                          <a:pt x="85" y="35"/>
                        </a:lnTo>
                        <a:lnTo>
                          <a:pt x="78" y="43"/>
                        </a:lnTo>
                        <a:lnTo>
                          <a:pt x="78" y="43"/>
                        </a:lnTo>
                        <a:lnTo>
                          <a:pt x="76" y="45"/>
                        </a:lnTo>
                        <a:lnTo>
                          <a:pt x="76" y="45"/>
                        </a:lnTo>
                        <a:lnTo>
                          <a:pt x="76" y="45"/>
                        </a:lnTo>
                        <a:lnTo>
                          <a:pt x="76" y="45"/>
                        </a:lnTo>
                        <a:lnTo>
                          <a:pt x="76" y="50"/>
                        </a:lnTo>
                        <a:lnTo>
                          <a:pt x="76" y="50"/>
                        </a:lnTo>
                        <a:lnTo>
                          <a:pt x="69" y="50"/>
                        </a:lnTo>
                        <a:lnTo>
                          <a:pt x="69" y="50"/>
                        </a:lnTo>
                        <a:lnTo>
                          <a:pt x="66" y="50"/>
                        </a:lnTo>
                        <a:lnTo>
                          <a:pt x="66" y="50"/>
                        </a:lnTo>
                        <a:lnTo>
                          <a:pt x="64" y="50"/>
                        </a:lnTo>
                        <a:lnTo>
                          <a:pt x="64" y="50"/>
                        </a:lnTo>
                        <a:lnTo>
                          <a:pt x="54" y="54"/>
                        </a:lnTo>
                        <a:lnTo>
                          <a:pt x="54" y="54"/>
                        </a:lnTo>
                        <a:lnTo>
                          <a:pt x="52" y="57"/>
                        </a:lnTo>
                        <a:lnTo>
                          <a:pt x="52" y="57"/>
                        </a:lnTo>
                        <a:lnTo>
                          <a:pt x="52" y="54"/>
                        </a:lnTo>
                        <a:lnTo>
                          <a:pt x="52" y="54"/>
                        </a:lnTo>
                        <a:lnTo>
                          <a:pt x="52" y="52"/>
                        </a:lnTo>
                        <a:lnTo>
                          <a:pt x="52" y="52"/>
                        </a:lnTo>
                        <a:lnTo>
                          <a:pt x="40" y="40"/>
                        </a:lnTo>
                        <a:lnTo>
                          <a:pt x="40" y="40"/>
                        </a:lnTo>
                        <a:lnTo>
                          <a:pt x="36" y="38"/>
                        </a:lnTo>
                        <a:lnTo>
                          <a:pt x="36" y="38"/>
                        </a:lnTo>
                        <a:lnTo>
                          <a:pt x="36" y="38"/>
                        </a:lnTo>
                        <a:lnTo>
                          <a:pt x="36" y="38"/>
                        </a:lnTo>
                        <a:lnTo>
                          <a:pt x="33" y="40"/>
                        </a:lnTo>
                        <a:lnTo>
                          <a:pt x="33" y="40"/>
                        </a:lnTo>
                        <a:lnTo>
                          <a:pt x="33" y="43"/>
                        </a:lnTo>
                        <a:lnTo>
                          <a:pt x="33" y="43"/>
                        </a:lnTo>
                        <a:lnTo>
                          <a:pt x="28" y="43"/>
                        </a:lnTo>
                        <a:lnTo>
                          <a:pt x="28" y="43"/>
                        </a:lnTo>
                        <a:lnTo>
                          <a:pt x="26" y="43"/>
                        </a:lnTo>
                        <a:lnTo>
                          <a:pt x="26" y="43"/>
                        </a:lnTo>
                        <a:lnTo>
                          <a:pt x="10" y="40"/>
                        </a:lnTo>
                        <a:lnTo>
                          <a:pt x="10" y="40"/>
                        </a:lnTo>
                        <a:lnTo>
                          <a:pt x="2" y="35"/>
                        </a:lnTo>
                        <a:lnTo>
                          <a:pt x="2" y="35"/>
                        </a:lnTo>
                        <a:lnTo>
                          <a:pt x="2" y="35"/>
                        </a:lnTo>
                        <a:lnTo>
                          <a:pt x="2" y="35"/>
                        </a:lnTo>
                        <a:close/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87" name="Freeform 1246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5942013" y="5143500"/>
                    <a:ext cx="52387" cy="31750"/>
                  </a:xfrm>
                  <a:custGeom>
                    <a:avLst/>
                    <a:gdLst/>
                    <a:ahLst/>
                    <a:cxnLst>
                      <a:cxn ang="0">
                        <a:pos x="0" y="12"/>
                      </a:cxn>
                      <a:cxn ang="0">
                        <a:pos x="0" y="12"/>
                      </a:cxn>
                      <a:cxn ang="0">
                        <a:pos x="0" y="12"/>
                      </a:cxn>
                      <a:cxn ang="0">
                        <a:pos x="0" y="8"/>
                      </a:cxn>
                      <a:cxn ang="0">
                        <a:pos x="0" y="8"/>
                      </a:cxn>
                      <a:cxn ang="0">
                        <a:pos x="2" y="5"/>
                      </a:cxn>
                      <a:cxn ang="0">
                        <a:pos x="2" y="5"/>
                      </a:cxn>
                      <a:cxn ang="0">
                        <a:pos x="5" y="3"/>
                      </a:cxn>
                      <a:cxn ang="0">
                        <a:pos x="5" y="3"/>
                      </a:cxn>
                      <a:cxn ang="0">
                        <a:pos x="9" y="0"/>
                      </a:cxn>
                      <a:cxn ang="0">
                        <a:pos x="9" y="0"/>
                      </a:cxn>
                      <a:cxn ang="0">
                        <a:pos x="14" y="3"/>
                      </a:cxn>
                      <a:cxn ang="0">
                        <a:pos x="14" y="3"/>
                      </a:cxn>
                      <a:cxn ang="0">
                        <a:pos x="19" y="3"/>
                      </a:cxn>
                      <a:cxn ang="0">
                        <a:pos x="19" y="3"/>
                      </a:cxn>
                      <a:cxn ang="0">
                        <a:pos x="24" y="5"/>
                      </a:cxn>
                      <a:cxn ang="0">
                        <a:pos x="24" y="5"/>
                      </a:cxn>
                      <a:cxn ang="0">
                        <a:pos x="26" y="5"/>
                      </a:cxn>
                      <a:cxn ang="0">
                        <a:pos x="26" y="5"/>
                      </a:cxn>
                      <a:cxn ang="0">
                        <a:pos x="26" y="5"/>
                      </a:cxn>
                      <a:cxn ang="0">
                        <a:pos x="26" y="5"/>
                      </a:cxn>
                      <a:cxn ang="0">
                        <a:pos x="31" y="10"/>
                      </a:cxn>
                      <a:cxn ang="0">
                        <a:pos x="31" y="10"/>
                      </a:cxn>
                      <a:cxn ang="0">
                        <a:pos x="31" y="15"/>
                      </a:cxn>
                      <a:cxn ang="0">
                        <a:pos x="31" y="15"/>
                      </a:cxn>
                      <a:cxn ang="0">
                        <a:pos x="31" y="15"/>
                      </a:cxn>
                      <a:cxn ang="0">
                        <a:pos x="31" y="15"/>
                      </a:cxn>
                      <a:cxn ang="0">
                        <a:pos x="31" y="15"/>
                      </a:cxn>
                      <a:cxn ang="0">
                        <a:pos x="31" y="15"/>
                      </a:cxn>
                      <a:cxn ang="0">
                        <a:pos x="26" y="17"/>
                      </a:cxn>
                      <a:cxn ang="0">
                        <a:pos x="26" y="17"/>
                      </a:cxn>
                      <a:cxn ang="0">
                        <a:pos x="19" y="19"/>
                      </a:cxn>
                      <a:cxn ang="0">
                        <a:pos x="19" y="19"/>
                      </a:cxn>
                      <a:cxn ang="0">
                        <a:pos x="17" y="17"/>
                      </a:cxn>
                      <a:cxn ang="0">
                        <a:pos x="17" y="17"/>
                      </a:cxn>
                      <a:cxn ang="0">
                        <a:pos x="14" y="17"/>
                      </a:cxn>
                      <a:cxn ang="0">
                        <a:pos x="14" y="17"/>
                      </a:cxn>
                      <a:cxn ang="0">
                        <a:pos x="7" y="12"/>
                      </a:cxn>
                      <a:cxn ang="0">
                        <a:pos x="7" y="12"/>
                      </a:cxn>
                      <a:cxn ang="0">
                        <a:pos x="5" y="12"/>
                      </a:cxn>
                      <a:cxn ang="0">
                        <a:pos x="5" y="12"/>
                      </a:cxn>
                      <a:cxn ang="0">
                        <a:pos x="0" y="12"/>
                      </a:cxn>
                      <a:cxn ang="0">
                        <a:pos x="0" y="12"/>
                      </a:cxn>
                      <a:cxn ang="0">
                        <a:pos x="0" y="12"/>
                      </a:cxn>
                      <a:cxn ang="0">
                        <a:pos x="0" y="12"/>
                      </a:cxn>
                    </a:cxnLst>
                    <a:rect l="0" t="0" r="r" b="b"/>
                    <a:pathLst>
                      <a:path w="31" h="19">
                        <a:moveTo>
                          <a:pt x="0" y="12"/>
                        </a:moveTo>
                        <a:lnTo>
                          <a:pt x="0" y="12"/>
                        </a:lnTo>
                        <a:lnTo>
                          <a:pt x="0" y="12"/>
                        </a:lnTo>
                        <a:lnTo>
                          <a:pt x="0" y="8"/>
                        </a:lnTo>
                        <a:lnTo>
                          <a:pt x="0" y="8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lnTo>
                          <a:pt x="5" y="3"/>
                        </a:lnTo>
                        <a:lnTo>
                          <a:pt x="5" y="3"/>
                        </a:lnTo>
                        <a:lnTo>
                          <a:pt x="9" y="0"/>
                        </a:lnTo>
                        <a:lnTo>
                          <a:pt x="9" y="0"/>
                        </a:lnTo>
                        <a:lnTo>
                          <a:pt x="14" y="3"/>
                        </a:lnTo>
                        <a:lnTo>
                          <a:pt x="14" y="3"/>
                        </a:lnTo>
                        <a:lnTo>
                          <a:pt x="19" y="3"/>
                        </a:lnTo>
                        <a:lnTo>
                          <a:pt x="19" y="3"/>
                        </a:lnTo>
                        <a:lnTo>
                          <a:pt x="24" y="5"/>
                        </a:lnTo>
                        <a:lnTo>
                          <a:pt x="24" y="5"/>
                        </a:lnTo>
                        <a:lnTo>
                          <a:pt x="26" y="5"/>
                        </a:lnTo>
                        <a:lnTo>
                          <a:pt x="26" y="5"/>
                        </a:lnTo>
                        <a:lnTo>
                          <a:pt x="26" y="5"/>
                        </a:lnTo>
                        <a:lnTo>
                          <a:pt x="26" y="5"/>
                        </a:lnTo>
                        <a:lnTo>
                          <a:pt x="31" y="10"/>
                        </a:lnTo>
                        <a:lnTo>
                          <a:pt x="31" y="10"/>
                        </a:lnTo>
                        <a:lnTo>
                          <a:pt x="31" y="15"/>
                        </a:lnTo>
                        <a:lnTo>
                          <a:pt x="31" y="15"/>
                        </a:lnTo>
                        <a:lnTo>
                          <a:pt x="31" y="15"/>
                        </a:lnTo>
                        <a:lnTo>
                          <a:pt x="31" y="15"/>
                        </a:lnTo>
                        <a:lnTo>
                          <a:pt x="31" y="15"/>
                        </a:lnTo>
                        <a:lnTo>
                          <a:pt x="31" y="15"/>
                        </a:lnTo>
                        <a:lnTo>
                          <a:pt x="26" y="17"/>
                        </a:lnTo>
                        <a:lnTo>
                          <a:pt x="26" y="17"/>
                        </a:lnTo>
                        <a:lnTo>
                          <a:pt x="19" y="19"/>
                        </a:lnTo>
                        <a:lnTo>
                          <a:pt x="19" y="19"/>
                        </a:lnTo>
                        <a:lnTo>
                          <a:pt x="17" y="17"/>
                        </a:lnTo>
                        <a:lnTo>
                          <a:pt x="17" y="17"/>
                        </a:lnTo>
                        <a:lnTo>
                          <a:pt x="14" y="17"/>
                        </a:lnTo>
                        <a:lnTo>
                          <a:pt x="14" y="17"/>
                        </a:lnTo>
                        <a:lnTo>
                          <a:pt x="7" y="12"/>
                        </a:lnTo>
                        <a:lnTo>
                          <a:pt x="7" y="12"/>
                        </a:lnTo>
                        <a:lnTo>
                          <a:pt x="5" y="12"/>
                        </a:lnTo>
                        <a:lnTo>
                          <a:pt x="5" y="12"/>
                        </a:lnTo>
                        <a:lnTo>
                          <a:pt x="0" y="12"/>
                        </a:lnTo>
                        <a:lnTo>
                          <a:pt x="0" y="12"/>
                        </a:lnTo>
                        <a:lnTo>
                          <a:pt x="0" y="12"/>
                        </a:lnTo>
                        <a:lnTo>
                          <a:pt x="0" y="12"/>
                        </a:lnTo>
                        <a:close/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88" name="Freeform 1247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6226175" y="5187950"/>
                    <a:ext cx="23812" cy="12700"/>
                  </a:xfrm>
                  <a:custGeom>
                    <a:avLst/>
                    <a:gdLst/>
                    <a:ahLst/>
                    <a:cxnLst>
                      <a:cxn ang="0">
                        <a:pos x="2" y="8"/>
                      </a:cxn>
                      <a:cxn ang="0">
                        <a:pos x="2" y="8"/>
                      </a:cxn>
                      <a:cxn ang="0">
                        <a:pos x="2" y="8"/>
                      </a:cxn>
                      <a:cxn ang="0">
                        <a:pos x="2" y="8"/>
                      </a:cxn>
                      <a:cxn ang="0">
                        <a:pos x="2" y="8"/>
                      </a:cxn>
                      <a:cxn ang="0">
                        <a:pos x="0" y="5"/>
                      </a:cxn>
                      <a:cxn ang="0">
                        <a:pos x="0" y="5"/>
                      </a:cxn>
                      <a:cxn ang="0">
                        <a:pos x="2" y="3"/>
                      </a:cxn>
                      <a:cxn ang="0">
                        <a:pos x="2" y="3"/>
                      </a:cxn>
                      <a:cxn ang="0">
                        <a:pos x="2" y="3"/>
                      </a:cxn>
                      <a:cxn ang="0">
                        <a:pos x="2" y="3"/>
                      </a:cxn>
                      <a:cxn ang="0">
                        <a:pos x="12" y="0"/>
                      </a:cxn>
                      <a:cxn ang="0">
                        <a:pos x="12" y="0"/>
                      </a:cxn>
                      <a:cxn ang="0">
                        <a:pos x="12" y="0"/>
                      </a:cxn>
                      <a:cxn ang="0">
                        <a:pos x="12" y="0"/>
                      </a:cxn>
                      <a:cxn ang="0">
                        <a:pos x="12" y="3"/>
                      </a:cxn>
                      <a:cxn ang="0">
                        <a:pos x="12" y="3"/>
                      </a:cxn>
                      <a:cxn ang="0">
                        <a:pos x="14" y="5"/>
                      </a:cxn>
                      <a:cxn ang="0">
                        <a:pos x="14" y="5"/>
                      </a:cxn>
                      <a:cxn ang="0">
                        <a:pos x="12" y="8"/>
                      </a:cxn>
                      <a:cxn ang="0">
                        <a:pos x="12" y="8"/>
                      </a:cxn>
                      <a:cxn ang="0">
                        <a:pos x="10" y="8"/>
                      </a:cxn>
                      <a:cxn ang="0">
                        <a:pos x="10" y="8"/>
                      </a:cxn>
                      <a:cxn ang="0">
                        <a:pos x="5" y="8"/>
                      </a:cxn>
                      <a:cxn ang="0">
                        <a:pos x="5" y="8"/>
                      </a:cxn>
                      <a:cxn ang="0">
                        <a:pos x="2" y="8"/>
                      </a:cxn>
                      <a:cxn ang="0">
                        <a:pos x="2" y="8"/>
                      </a:cxn>
                      <a:cxn ang="0">
                        <a:pos x="2" y="8"/>
                      </a:cxn>
                      <a:cxn ang="0">
                        <a:pos x="2" y="8"/>
                      </a:cxn>
                    </a:cxnLst>
                    <a:rect l="0" t="0" r="r" b="b"/>
                    <a:pathLst>
                      <a:path w="14" h="8">
                        <a:moveTo>
                          <a:pt x="2" y="8"/>
                        </a:moveTo>
                        <a:lnTo>
                          <a:pt x="2" y="8"/>
                        </a:lnTo>
                        <a:lnTo>
                          <a:pt x="2" y="8"/>
                        </a:lnTo>
                        <a:lnTo>
                          <a:pt x="2" y="8"/>
                        </a:lnTo>
                        <a:lnTo>
                          <a:pt x="2" y="8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2" y="3"/>
                        </a:lnTo>
                        <a:lnTo>
                          <a:pt x="2" y="3"/>
                        </a:lnTo>
                        <a:lnTo>
                          <a:pt x="2" y="3"/>
                        </a:lnTo>
                        <a:lnTo>
                          <a:pt x="2" y="3"/>
                        </a:lnTo>
                        <a:lnTo>
                          <a:pt x="12" y="0"/>
                        </a:lnTo>
                        <a:lnTo>
                          <a:pt x="12" y="0"/>
                        </a:lnTo>
                        <a:lnTo>
                          <a:pt x="12" y="0"/>
                        </a:lnTo>
                        <a:lnTo>
                          <a:pt x="12" y="0"/>
                        </a:lnTo>
                        <a:lnTo>
                          <a:pt x="12" y="3"/>
                        </a:lnTo>
                        <a:lnTo>
                          <a:pt x="12" y="3"/>
                        </a:lnTo>
                        <a:lnTo>
                          <a:pt x="14" y="5"/>
                        </a:lnTo>
                        <a:lnTo>
                          <a:pt x="14" y="5"/>
                        </a:lnTo>
                        <a:lnTo>
                          <a:pt x="12" y="8"/>
                        </a:lnTo>
                        <a:lnTo>
                          <a:pt x="12" y="8"/>
                        </a:lnTo>
                        <a:lnTo>
                          <a:pt x="10" y="8"/>
                        </a:lnTo>
                        <a:lnTo>
                          <a:pt x="10" y="8"/>
                        </a:lnTo>
                        <a:lnTo>
                          <a:pt x="5" y="8"/>
                        </a:lnTo>
                        <a:lnTo>
                          <a:pt x="5" y="8"/>
                        </a:lnTo>
                        <a:lnTo>
                          <a:pt x="2" y="8"/>
                        </a:lnTo>
                        <a:lnTo>
                          <a:pt x="2" y="8"/>
                        </a:lnTo>
                        <a:lnTo>
                          <a:pt x="2" y="8"/>
                        </a:lnTo>
                        <a:lnTo>
                          <a:pt x="2" y="8"/>
                        </a:lnTo>
                        <a:close/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89" name="Freeform 1248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6283325" y="5195888"/>
                    <a:ext cx="26987" cy="28575"/>
                  </a:xfrm>
                  <a:custGeom>
                    <a:avLst/>
                    <a:gdLst/>
                    <a:ahLst/>
                    <a:cxnLst>
                      <a:cxn ang="0">
                        <a:pos x="12" y="17"/>
                      </a:cxn>
                      <a:cxn ang="0">
                        <a:pos x="7" y="12"/>
                      </a:cxn>
                      <a:cxn ang="0">
                        <a:pos x="7" y="12"/>
                      </a:cxn>
                      <a:cxn ang="0">
                        <a:pos x="0" y="7"/>
                      </a:cxn>
                      <a:cxn ang="0">
                        <a:pos x="0" y="7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5" y="0"/>
                      </a:cxn>
                      <a:cxn ang="0">
                        <a:pos x="5" y="0"/>
                      </a:cxn>
                      <a:cxn ang="0">
                        <a:pos x="14" y="5"/>
                      </a:cxn>
                      <a:cxn ang="0">
                        <a:pos x="14" y="5"/>
                      </a:cxn>
                      <a:cxn ang="0">
                        <a:pos x="14" y="7"/>
                      </a:cxn>
                      <a:cxn ang="0">
                        <a:pos x="14" y="7"/>
                      </a:cxn>
                      <a:cxn ang="0">
                        <a:pos x="17" y="10"/>
                      </a:cxn>
                      <a:cxn ang="0">
                        <a:pos x="17" y="10"/>
                      </a:cxn>
                      <a:cxn ang="0">
                        <a:pos x="17" y="12"/>
                      </a:cxn>
                      <a:cxn ang="0">
                        <a:pos x="17" y="12"/>
                      </a:cxn>
                      <a:cxn ang="0">
                        <a:pos x="17" y="14"/>
                      </a:cxn>
                      <a:cxn ang="0">
                        <a:pos x="17" y="14"/>
                      </a:cxn>
                      <a:cxn ang="0">
                        <a:pos x="17" y="14"/>
                      </a:cxn>
                      <a:cxn ang="0">
                        <a:pos x="17" y="14"/>
                      </a:cxn>
                      <a:cxn ang="0">
                        <a:pos x="12" y="17"/>
                      </a:cxn>
                      <a:cxn ang="0">
                        <a:pos x="12" y="17"/>
                      </a:cxn>
                      <a:cxn ang="0">
                        <a:pos x="12" y="17"/>
                      </a:cxn>
                      <a:cxn ang="0">
                        <a:pos x="12" y="17"/>
                      </a:cxn>
                    </a:cxnLst>
                    <a:rect l="0" t="0" r="r" b="b"/>
                    <a:pathLst>
                      <a:path w="17" h="17">
                        <a:moveTo>
                          <a:pt x="12" y="17"/>
                        </a:moveTo>
                        <a:lnTo>
                          <a:pt x="7" y="12"/>
                        </a:lnTo>
                        <a:lnTo>
                          <a:pt x="7" y="12"/>
                        </a:lnTo>
                        <a:lnTo>
                          <a:pt x="0" y="7"/>
                        </a:lnTo>
                        <a:lnTo>
                          <a:pt x="0" y="7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5" y="0"/>
                        </a:lnTo>
                        <a:lnTo>
                          <a:pt x="5" y="0"/>
                        </a:lnTo>
                        <a:lnTo>
                          <a:pt x="14" y="5"/>
                        </a:lnTo>
                        <a:lnTo>
                          <a:pt x="14" y="5"/>
                        </a:lnTo>
                        <a:lnTo>
                          <a:pt x="14" y="7"/>
                        </a:lnTo>
                        <a:lnTo>
                          <a:pt x="14" y="7"/>
                        </a:lnTo>
                        <a:lnTo>
                          <a:pt x="17" y="10"/>
                        </a:lnTo>
                        <a:lnTo>
                          <a:pt x="17" y="10"/>
                        </a:lnTo>
                        <a:lnTo>
                          <a:pt x="17" y="12"/>
                        </a:lnTo>
                        <a:lnTo>
                          <a:pt x="17" y="12"/>
                        </a:lnTo>
                        <a:lnTo>
                          <a:pt x="17" y="14"/>
                        </a:lnTo>
                        <a:lnTo>
                          <a:pt x="17" y="14"/>
                        </a:lnTo>
                        <a:lnTo>
                          <a:pt x="17" y="14"/>
                        </a:lnTo>
                        <a:lnTo>
                          <a:pt x="17" y="14"/>
                        </a:lnTo>
                        <a:lnTo>
                          <a:pt x="12" y="17"/>
                        </a:lnTo>
                        <a:lnTo>
                          <a:pt x="12" y="17"/>
                        </a:lnTo>
                        <a:lnTo>
                          <a:pt x="12" y="17"/>
                        </a:lnTo>
                        <a:lnTo>
                          <a:pt x="12" y="17"/>
                        </a:lnTo>
                        <a:close/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90" name="Freeform 1107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5394325" y="2736850"/>
                    <a:ext cx="407987" cy="173038"/>
                  </a:xfrm>
                  <a:custGeom>
                    <a:avLst/>
                    <a:gdLst/>
                    <a:ahLst/>
                    <a:cxnLst>
                      <a:cxn ang="0">
                        <a:pos x="92" y="95"/>
                      </a:cxn>
                      <a:cxn ang="0">
                        <a:pos x="80" y="90"/>
                      </a:cxn>
                      <a:cxn ang="0">
                        <a:pos x="73" y="92"/>
                      </a:cxn>
                      <a:cxn ang="0">
                        <a:pos x="63" y="95"/>
                      </a:cxn>
                      <a:cxn ang="0">
                        <a:pos x="59" y="92"/>
                      </a:cxn>
                      <a:cxn ang="0">
                        <a:pos x="37" y="95"/>
                      </a:cxn>
                      <a:cxn ang="0">
                        <a:pos x="35" y="95"/>
                      </a:cxn>
                      <a:cxn ang="0">
                        <a:pos x="21" y="83"/>
                      </a:cxn>
                      <a:cxn ang="0">
                        <a:pos x="21" y="76"/>
                      </a:cxn>
                      <a:cxn ang="0">
                        <a:pos x="21" y="73"/>
                      </a:cxn>
                      <a:cxn ang="0">
                        <a:pos x="18" y="73"/>
                      </a:cxn>
                      <a:cxn ang="0">
                        <a:pos x="14" y="71"/>
                      </a:cxn>
                      <a:cxn ang="0">
                        <a:pos x="11" y="71"/>
                      </a:cxn>
                      <a:cxn ang="0">
                        <a:pos x="7" y="73"/>
                      </a:cxn>
                      <a:cxn ang="0">
                        <a:pos x="2" y="66"/>
                      </a:cxn>
                      <a:cxn ang="0">
                        <a:pos x="0" y="14"/>
                      </a:cxn>
                      <a:cxn ang="0">
                        <a:pos x="2" y="12"/>
                      </a:cxn>
                      <a:cxn ang="0">
                        <a:pos x="2" y="7"/>
                      </a:cxn>
                      <a:cxn ang="0">
                        <a:pos x="2" y="5"/>
                      </a:cxn>
                      <a:cxn ang="0">
                        <a:pos x="11" y="0"/>
                      </a:cxn>
                      <a:cxn ang="0">
                        <a:pos x="18" y="0"/>
                      </a:cxn>
                      <a:cxn ang="0">
                        <a:pos x="40" y="3"/>
                      </a:cxn>
                      <a:cxn ang="0">
                        <a:pos x="56" y="3"/>
                      </a:cxn>
                      <a:cxn ang="0">
                        <a:pos x="71" y="5"/>
                      </a:cxn>
                      <a:cxn ang="0">
                        <a:pos x="80" y="5"/>
                      </a:cxn>
                      <a:cxn ang="0">
                        <a:pos x="89" y="3"/>
                      </a:cxn>
                      <a:cxn ang="0">
                        <a:pos x="104" y="5"/>
                      </a:cxn>
                      <a:cxn ang="0">
                        <a:pos x="113" y="10"/>
                      </a:cxn>
                      <a:cxn ang="0">
                        <a:pos x="120" y="7"/>
                      </a:cxn>
                      <a:cxn ang="0">
                        <a:pos x="125" y="7"/>
                      </a:cxn>
                      <a:cxn ang="0">
                        <a:pos x="134" y="10"/>
                      </a:cxn>
                      <a:cxn ang="0">
                        <a:pos x="134" y="7"/>
                      </a:cxn>
                      <a:cxn ang="0">
                        <a:pos x="141" y="5"/>
                      </a:cxn>
                      <a:cxn ang="0">
                        <a:pos x="144" y="7"/>
                      </a:cxn>
                      <a:cxn ang="0">
                        <a:pos x="153" y="17"/>
                      </a:cxn>
                      <a:cxn ang="0">
                        <a:pos x="156" y="19"/>
                      </a:cxn>
                      <a:cxn ang="0">
                        <a:pos x="158" y="24"/>
                      </a:cxn>
                      <a:cxn ang="0">
                        <a:pos x="177" y="29"/>
                      </a:cxn>
                      <a:cxn ang="0">
                        <a:pos x="191" y="31"/>
                      </a:cxn>
                      <a:cxn ang="0">
                        <a:pos x="212" y="33"/>
                      </a:cxn>
                      <a:cxn ang="0">
                        <a:pos x="219" y="36"/>
                      </a:cxn>
                      <a:cxn ang="0">
                        <a:pos x="229" y="50"/>
                      </a:cxn>
                      <a:cxn ang="0">
                        <a:pos x="234" y="73"/>
                      </a:cxn>
                      <a:cxn ang="0">
                        <a:pos x="217" y="76"/>
                      </a:cxn>
                      <a:cxn ang="0">
                        <a:pos x="215" y="76"/>
                      </a:cxn>
                      <a:cxn ang="0">
                        <a:pos x="203" y="78"/>
                      </a:cxn>
                      <a:cxn ang="0">
                        <a:pos x="201" y="81"/>
                      </a:cxn>
                      <a:cxn ang="0">
                        <a:pos x="196" y="81"/>
                      </a:cxn>
                      <a:cxn ang="0">
                        <a:pos x="191" y="78"/>
                      </a:cxn>
                      <a:cxn ang="0">
                        <a:pos x="186" y="81"/>
                      </a:cxn>
                      <a:cxn ang="0">
                        <a:pos x="186" y="78"/>
                      </a:cxn>
                      <a:cxn ang="0">
                        <a:pos x="144" y="88"/>
                      </a:cxn>
                      <a:cxn ang="0">
                        <a:pos x="130" y="88"/>
                      </a:cxn>
                      <a:cxn ang="0">
                        <a:pos x="127" y="81"/>
                      </a:cxn>
                      <a:cxn ang="0">
                        <a:pos x="118" y="83"/>
                      </a:cxn>
                      <a:cxn ang="0">
                        <a:pos x="115" y="83"/>
                      </a:cxn>
                      <a:cxn ang="0">
                        <a:pos x="94" y="99"/>
                      </a:cxn>
                    </a:cxnLst>
                    <a:rect l="0" t="0" r="r" b="b"/>
                    <a:pathLst>
                      <a:path w="234" h="99">
                        <a:moveTo>
                          <a:pt x="94" y="99"/>
                        </a:moveTo>
                        <a:lnTo>
                          <a:pt x="92" y="97"/>
                        </a:lnTo>
                        <a:lnTo>
                          <a:pt x="92" y="97"/>
                        </a:lnTo>
                        <a:lnTo>
                          <a:pt x="92" y="95"/>
                        </a:lnTo>
                        <a:lnTo>
                          <a:pt x="92" y="95"/>
                        </a:lnTo>
                        <a:lnTo>
                          <a:pt x="87" y="92"/>
                        </a:lnTo>
                        <a:lnTo>
                          <a:pt x="87" y="92"/>
                        </a:lnTo>
                        <a:lnTo>
                          <a:pt x="80" y="90"/>
                        </a:lnTo>
                        <a:lnTo>
                          <a:pt x="80" y="90"/>
                        </a:lnTo>
                        <a:lnTo>
                          <a:pt x="78" y="90"/>
                        </a:lnTo>
                        <a:lnTo>
                          <a:pt x="78" y="90"/>
                        </a:lnTo>
                        <a:lnTo>
                          <a:pt x="73" y="92"/>
                        </a:lnTo>
                        <a:lnTo>
                          <a:pt x="73" y="92"/>
                        </a:lnTo>
                        <a:lnTo>
                          <a:pt x="68" y="92"/>
                        </a:lnTo>
                        <a:lnTo>
                          <a:pt x="68" y="92"/>
                        </a:lnTo>
                        <a:lnTo>
                          <a:pt x="63" y="95"/>
                        </a:lnTo>
                        <a:lnTo>
                          <a:pt x="63" y="95"/>
                        </a:lnTo>
                        <a:lnTo>
                          <a:pt x="61" y="92"/>
                        </a:lnTo>
                        <a:lnTo>
                          <a:pt x="61" y="92"/>
                        </a:lnTo>
                        <a:lnTo>
                          <a:pt x="59" y="92"/>
                        </a:lnTo>
                        <a:lnTo>
                          <a:pt x="59" y="92"/>
                        </a:lnTo>
                        <a:lnTo>
                          <a:pt x="42" y="95"/>
                        </a:lnTo>
                        <a:lnTo>
                          <a:pt x="42" y="95"/>
                        </a:lnTo>
                        <a:lnTo>
                          <a:pt x="37" y="95"/>
                        </a:lnTo>
                        <a:lnTo>
                          <a:pt x="37" y="95"/>
                        </a:lnTo>
                        <a:lnTo>
                          <a:pt x="37" y="95"/>
                        </a:lnTo>
                        <a:lnTo>
                          <a:pt x="37" y="95"/>
                        </a:lnTo>
                        <a:lnTo>
                          <a:pt x="35" y="95"/>
                        </a:lnTo>
                        <a:lnTo>
                          <a:pt x="35" y="95"/>
                        </a:lnTo>
                        <a:lnTo>
                          <a:pt x="28" y="88"/>
                        </a:lnTo>
                        <a:lnTo>
                          <a:pt x="28" y="88"/>
                        </a:lnTo>
                        <a:lnTo>
                          <a:pt x="21" y="83"/>
                        </a:lnTo>
                        <a:lnTo>
                          <a:pt x="21" y="83"/>
                        </a:lnTo>
                        <a:lnTo>
                          <a:pt x="21" y="78"/>
                        </a:lnTo>
                        <a:lnTo>
                          <a:pt x="21" y="78"/>
                        </a:lnTo>
                        <a:lnTo>
                          <a:pt x="21" y="76"/>
                        </a:lnTo>
                        <a:lnTo>
                          <a:pt x="21" y="76"/>
                        </a:lnTo>
                        <a:lnTo>
                          <a:pt x="21" y="76"/>
                        </a:lnTo>
                        <a:lnTo>
                          <a:pt x="21" y="76"/>
                        </a:lnTo>
                        <a:lnTo>
                          <a:pt x="21" y="73"/>
                        </a:lnTo>
                        <a:lnTo>
                          <a:pt x="21" y="73"/>
                        </a:lnTo>
                        <a:lnTo>
                          <a:pt x="21" y="73"/>
                        </a:lnTo>
                        <a:lnTo>
                          <a:pt x="21" y="73"/>
                        </a:lnTo>
                        <a:lnTo>
                          <a:pt x="18" y="73"/>
                        </a:lnTo>
                        <a:lnTo>
                          <a:pt x="18" y="73"/>
                        </a:lnTo>
                        <a:lnTo>
                          <a:pt x="16" y="71"/>
                        </a:lnTo>
                        <a:lnTo>
                          <a:pt x="16" y="71"/>
                        </a:lnTo>
                        <a:lnTo>
                          <a:pt x="14" y="71"/>
                        </a:lnTo>
                        <a:lnTo>
                          <a:pt x="14" y="71"/>
                        </a:lnTo>
                        <a:lnTo>
                          <a:pt x="11" y="71"/>
                        </a:lnTo>
                        <a:lnTo>
                          <a:pt x="11" y="71"/>
                        </a:lnTo>
                        <a:lnTo>
                          <a:pt x="11" y="71"/>
                        </a:lnTo>
                        <a:lnTo>
                          <a:pt x="11" y="71"/>
                        </a:lnTo>
                        <a:lnTo>
                          <a:pt x="11" y="73"/>
                        </a:lnTo>
                        <a:lnTo>
                          <a:pt x="11" y="73"/>
                        </a:lnTo>
                        <a:lnTo>
                          <a:pt x="7" y="73"/>
                        </a:lnTo>
                        <a:lnTo>
                          <a:pt x="7" y="73"/>
                        </a:lnTo>
                        <a:lnTo>
                          <a:pt x="7" y="71"/>
                        </a:lnTo>
                        <a:lnTo>
                          <a:pt x="7" y="71"/>
                        </a:lnTo>
                        <a:lnTo>
                          <a:pt x="2" y="66"/>
                        </a:lnTo>
                        <a:lnTo>
                          <a:pt x="2" y="64"/>
                        </a:lnTo>
                        <a:lnTo>
                          <a:pt x="2" y="64"/>
                        </a:lnTo>
                        <a:lnTo>
                          <a:pt x="0" y="14"/>
                        </a:lnTo>
                        <a:lnTo>
                          <a:pt x="0" y="14"/>
                        </a:lnTo>
                        <a:lnTo>
                          <a:pt x="2" y="14"/>
                        </a:lnTo>
                        <a:lnTo>
                          <a:pt x="2" y="14"/>
                        </a:lnTo>
                        <a:lnTo>
                          <a:pt x="2" y="12"/>
                        </a:lnTo>
                        <a:lnTo>
                          <a:pt x="2" y="12"/>
                        </a:lnTo>
                        <a:lnTo>
                          <a:pt x="2" y="10"/>
                        </a:lnTo>
                        <a:lnTo>
                          <a:pt x="2" y="10"/>
                        </a:lnTo>
                        <a:lnTo>
                          <a:pt x="2" y="7"/>
                        </a:lnTo>
                        <a:lnTo>
                          <a:pt x="2" y="7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lnTo>
                          <a:pt x="4" y="3"/>
                        </a:lnTo>
                        <a:lnTo>
                          <a:pt x="4" y="3"/>
                        </a:lnTo>
                        <a:lnTo>
                          <a:pt x="11" y="0"/>
                        </a:lnTo>
                        <a:lnTo>
                          <a:pt x="11" y="0"/>
                        </a:lnTo>
                        <a:lnTo>
                          <a:pt x="16" y="0"/>
                        </a:lnTo>
                        <a:lnTo>
                          <a:pt x="16" y="0"/>
                        </a:lnTo>
                        <a:lnTo>
                          <a:pt x="18" y="0"/>
                        </a:lnTo>
                        <a:lnTo>
                          <a:pt x="18" y="0"/>
                        </a:lnTo>
                        <a:lnTo>
                          <a:pt x="37" y="3"/>
                        </a:lnTo>
                        <a:lnTo>
                          <a:pt x="37" y="3"/>
                        </a:lnTo>
                        <a:lnTo>
                          <a:pt x="40" y="3"/>
                        </a:lnTo>
                        <a:lnTo>
                          <a:pt x="40" y="3"/>
                        </a:lnTo>
                        <a:lnTo>
                          <a:pt x="42" y="5"/>
                        </a:lnTo>
                        <a:lnTo>
                          <a:pt x="42" y="5"/>
                        </a:lnTo>
                        <a:lnTo>
                          <a:pt x="56" y="3"/>
                        </a:lnTo>
                        <a:lnTo>
                          <a:pt x="56" y="3"/>
                        </a:lnTo>
                        <a:lnTo>
                          <a:pt x="68" y="3"/>
                        </a:lnTo>
                        <a:lnTo>
                          <a:pt x="68" y="3"/>
                        </a:lnTo>
                        <a:lnTo>
                          <a:pt x="71" y="5"/>
                        </a:lnTo>
                        <a:lnTo>
                          <a:pt x="71" y="5"/>
                        </a:lnTo>
                        <a:lnTo>
                          <a:pt x="73" y="5"/>
                        </a:lnTo>
                        <a:lnTo>
                          <a:pt x="73" y="5"/>
                        </a:lnTo>
                        <a:lnTo>
                          <a:pt x="80" y="5"/>
                        </a:lnTo>
                        <a:lnTo>
                          <a:pt x="80" y="5"/>
                        </a:lnTo>
                        <a:lnTo>
                          <a:pt x="87" y="3"/>
                        </a:lnTo>
                        <a:lnTo>
                          <a:pt x="87" y="3"/>
                        </a:lnTo>
                        <a:lnTo>
                          <a:pt x="89" y="3"/>
                        </a:lnTo>
                        <a:lnTo>
                          <a:pt x="89" y="3"/>
                        </a:lnTo>
                        <a:lnTo>
                          <a:pt x="104" y="5"/>
                        </a:lnTo>
                        <a:lnTo>
                          <a:pt x="104" y="5"/>
                        </a:lnTo>
                        <a:lnTo>
                          <a:pt x="104" y="5"/>
                        </a:lnTo>
                        <a:lnTo>
                          <a:pt x="104" y="5"/>
                        </a:lnTo>
                        <a:lnTo>
                          <a:pt x="106" y="7"/>
                        </a:lnTo>
                        <a:lnTo>
                          <a:pt x="106" y="7"/>
                        </a:lnTo>
                        <a:lnTo>
                          <a:pt x="113" y="10"/>
                        </a:lnTo>
                        <a:lnTo>
                          <a:pt x="113" y="10"/>
                        </a:lnTo>
                        <a:lnTo>
                          <a:pt x="115" y="7"/>
                        </a:lnTo>
                        <a:lnTo>
                          <a:pt x="115" y="7"/>
                        </a:lnTo>
                        <a:lnTo>
                          <a:pt x="120" y="7"/>
                        </a:lnTo>
                        <a:lnTo>
                          <a:pt x="120" y="7"/>
                        </a:lnTo>
                        <a:lnTo>
                          <a:pt x="123" y="7"/>
                        </a:lnTo>
                        <a:lnTo>
                          <a:pt x="123" y="7"/>
                        </a:lnTo>
                        <a:lnTo>
                          <a:pt x="125" y="7"/>
                        </a:lnTo>
                        <a:lnTo>
                          <a:pt x="125" y="7"/>
                        </a:lnTo>
                        <a:lnTo>
                          <a:pt x="130" y="7"/>
                        </a:lnTo>
                        <a:lnTo>
                          <a:pt x="130" y="7"/>
                        </a:lnTo>
                        <a:lnTo>
                          <a:pt x="134" y="10"/>
                        </a:lnTo>
                        <a:lnTo>
                          <a:pt x="134" y="10"/>
                        </a:lnTo>
                        <a:lnTo>
                          <a:pt x="134" y="7"/>
                        </a:lnTo>
                        <a:lnTo>
                          <a:pt x="134" y="7"/>
                        </a:lnTo>
                        <a:lnTo>
                          <a:pt x="134" y="7"/>
                        </a:lnTo>
                        <a:lnTo>
                          <a:pt x="134" y="7"/>
                        </a:lnTo>
                        <a:lnTo>
                          <a:pt x="137" y="7"/>
                        </a:lnTo>
                        <a:lnTo>
                          <a:pt x="137" y="7"/>
                        </a:lnTo>
                        <a:lnTo>
                          <a:pt x="141" y="5"/>
                        </a:lnTo>
                        <a:lnTo>
                          <a:pt x="141" y="5"/>
                        </a:lnTo>
                        <a:lnTo>
                          <a:pt x="141" y="7"/>
                        </a:lnTo>
                        <a:lnTo>
                          <a:pt x="141" y="7"/>
                        </a:lnTo>
                        <a:lnTo>
                          <a:pt x="144" y="7"/>
                        </a:lnTo>
                        <a:lnTo>
                          <a:pt x="144" y="7"/>
                        </a:lnTo>
                        <a:lnTo>
                          <a:pt x="149" y="14"/>
                        </a:lnTo>
                        <a:lnTo>
                          <a:pt x="149" y="14"/>
                        </a:lnTo>
                        <a:lnTo>
                          <a:pt x="153" y="17"/>
                        </a:lnTo>
                        <a:lnTo>
                          <a:pt x="153" y="17"/>
                        </a:lnTo>
                        <a:lnTo>
                          <a:pt x="156" y="19"/>
                        </a:lnTo>
                        <a:lnTo>
                          <a:pt x="156" y="19"/>
                        </a:lnTo>
                        <a:lnTo>
                          <a:pt x="156" y="19"/>
                        </a:lnTo>
                        <a:lnTo>
                          <a:pt x="156" y="19"/>
                        </a:lnTo>
                        <a:lnTo>
                          <a:pt x="158" y="24"/>
                        </a:lnTo>
                        <a:lnTo>
                          <a:pt x="158" y="24"/>
                        </a:lnTo>
                        <a:lnTo>
                          <a:pt x="158" y="24"/>
                        </a:lnTo>
                        <a:lnTo>
                          <a:pt x="158" y="24"/>
                        </a:lnTo>
                        <a:lnTo>
                          <a:pt x="165" y="24"/>
                        </a:lnTo>
                        <a:lnTo>
                          <a:pt x="165" y="24"/>
                        </a:lnTo>
                        <a:lnTo>
                          <a:pt x="177" y="29"/>
                        </a:lnTo>
                        <a:lnTo>
                          <a:pt x="177" y="29"/>
                        </a:lnTo>
                        <a:lnTo>
                          <a:pt x="189" y="31"/>
                        </a:lnTo>
                        <a:lnTo>
                          <a:pt x="189" y="31"/>
                        </a:lnTo>
                        <a:lnTo>
                          <a:pt x="191" y="31"/>
                        </a:lnTo>
                        <a:lnTo>
                          <a:pt x="191" y="31"/>
                        </a:lnTo>
                        <a:lnTo>
                          <a:pt x="203" y="33"/>
                        </a:lnTo>
                        <a:lnTo>
                          <a:pt x="203" y="33"/>
                        </a:lnTo>
                        <a:lnTo>
                          <a:pt x="212" y="33"/>
                        </a:lnTo>
                        <a:lnTo>
                          <a:pt x="212" y="33"/>
                        </a:lnTo>
                        <a:lnTo>
                          <a:pt x="215" y="33"/>
                        </a:lnTo>
                        <a:lnTo>
                          <a:pt x="215" y="33"/>
                        </a:lnTo>
                        <a:lnTo>
                          <a:pt x="219" y="36"/>
                        </a:lnTo>
                        <a:lnTo>
                          <a:pt x="219" y="36"/>
                        </a:lnTo>
                        <a:lnTo>
                          <a:pt x="227" y="47"/>
                        </a:lnTo>
                        <a:lnTo>
                          <a:pt x="227" y="47"/>
                        </a:lnTo>
                        <a:lnTo>
                          <a:pt x="229" y="50"/>
                        </a:lnTo>
                        <a:lnTo>
                          <a:pt x="229" y="50"/>
                        </a:lnTo>
                        <a:lnTo>
                          <a:pt x="231" y="55"/>
                        </a:lnTo>
                        <a:lnTo>
                          <a:pt x="231" y="55"/>
                        </a:lnTo>
                        <a:lnTo>
                          <a:pt x="234" y="73"/>
                        </a:lnTo>
                        <a:lnTo>
                          <a:pt x="234" y="73"/>
                        </a:lnTo>
                        <a:lnTo>
                          <a:pt x="224" y="76"/>
                        </a:lnTo>
                        <a:lnTo>
                          <a:pt x="224" y="76"/>
                        </a:lnTo>
                        <a:lnTo>
                          <a:pt x="217" y="76"/>
                        </a:lnTo>
                        <a:lnTo>
                          <a:pt x="217" y="76"/>
                        </a:lnTo>
                        <a:lnTo>
                          <a:pt x="215" y="76"/>
                        </a:lnTo>
                        <a:lnTo>
                          <a:pt x="215" y="76"/>
                        </a:lnTo>
                        <a:lnTo>
                          <a:pt x="215" y="76"/>
                        </a:lnTo>
                        <a:lnTo>
                          <a:pt x="215" y="76"/>
                        </a:lnTo>
                        <a:lnTo>
                          <a:pt x="203" y="78"/>
                        </a:lnTo>
                        <a:lnTo>
                          <a:pt x="203" y="78"/>
                        </a:lnTo>
                        <a:lnTo>
                          <a:pt x="203" y="78"/>
                        </a:lnTo>
                        <a:lnTo>
                          <a:pt x="203" y="78"/>
                        </a:lnTo>
                        <a:lnTo>
                          <a:pt x="201" y="81"/>
                        </a:lnTo>
                        <a:lnTo>
                          <a:pt x="201" y="81"/>
                        </a:lnTo>
                        <a:lnTo>
                          <a:pt x="201" y="81"/>
                        </a:lnTo>
                        <a:lnTo>
                          <a:pt x="201" y="81"/>
                        </a:lnTo>
                        <a:lnTo>
                          <a:pt x="198" y="81"/>
                        </a:lnTo>
                        <a:lnTo>
                          <a:pt x="198" y="81"/>
                        </a:lnTo>
                        <a:lnTo>
                          <a:pt x="196" y="81"/>
                        </a:lnTo>
                        <a:lnTo>
                          <a:pt x="196" y="81"/>
                        </a:lnTo>
                        <a:lnTo>
                          <a:pt x="196" y="81"/>
                        </a:lnTo>
                        <a:lnTo>
                          <a:pt x="196" y="81"/>
                        </a:lnTo>
                        <a:lnTo>
                          <a:pt x="191" y="78"/>
                        </a:lnTo>
                        <a:lnTo>
                          <a:pt x="191" y="78"/>
                        </a:lnTo>
                        <a:lnTo>
                          <a:pt x="189" y="81"/>
                        </a:lnTo>
                        <a:lnTo>
                          <a:pt x="189" y="81"/>
                        </a:lnTo>
                        <a:lnTo>
                          <a:pt x="186" y="81"/>
                        </a:lnTo>
                        <a:lnTo>
                          <a:pt x="186" y="81"/>
                        </a:lnTo>
                        <a:lnTo>
                          <a:pt x="186" y="78"/>
                        </a:lnTo>
                        <a:lnTo>
                          <a:pt x="186" y="78"/>
                        </a:lnTo>
                        <a:lnTo>
                          <a:pt x="186" y="78"/>
                        </a:lnTo>
                        <a:lnTo>
                          <a:pt x="186" y="78"/>
                        </a:lnTo>
                        <a:lnTo>
                          <a:pt x="184" y="76"/>
                        </a:lnTo>
                        <a:lnTo>
                          <a:pt x="149" y="83"/>
                        </a:lnTo>
                        <a:lnTo>
                          <a:pt x="149" y="83"/>
                        </a:lnTo>
                        <a:lnTo>
                          <a:pt x="144" y="88"/>
                        </a:lnTo>
                        <a:lnTo>
                          <a:pt x="144" y="88"/>
                        </a:lnTo>
                        <a:lnTo>
                          <a:pt x="141" y="88"/>
                        </a:lnTo>
                        <a:lnTo>
                          <a:pt x="141" y="88"/>
                        </a:lnTo>
                        <a:lnTo>
                          <a:pt x="130" y="88"/>
                        </a:lnTo>
                        <a:lnTo>
                          <a:pt x="130" y="88"/>
                        </a:lnTo>
                        <a:lnTo>
                          <a:pt x="130" y="88"/>
                        </a:lnTo>
                        <a:lnTo>
                          <a:pt x="130" y="88"/>
                        </a:lnTo>
                        <a:lnTo>
                          <a:pt x="127" y="81"/>
                        </a:lnTo>
                        <a:lnTo>
                          <a:pt x="127" y="81"/>
                        </a:lnTo>
                        <a:lnTo>
                          <a:pt x="123" y="81"/>
                        </a:lnTo>
                        <a:lnTo>
                          <a:pt x="123" y="81"/>
                        </a:lnTo>
                        <a:lnTo>
                          <a:pt x="118" y="83"/>
                        </a:lnTo>
                        <a:lnTo>
                          <a:pt x="118" y="83"/>
                        </a:lnTo>
                        <a:lnTo>
                          <a:pt x="118" y="83"/>
                        </a:lnTo>
                        <a:lnTo>
                          <a:pt x="118" y="83"/>
                        </a:lnTo>
                        <a:lnTo>
                          <a:pt x="115" y="83"/>
                        </a:lnTo>
                        <a:lnTo>
                          <a:pt x="115" y="83"/>
                        </a:lnTo>
                        <a:lnTo>
                          <a:pt x="115" y="85"/>
                        </a:lnTo>
                        <a:lnTo>
                          <a:pt x="115" y="85"/>
                        </a:lnTo>
                        <a:lnTo>
                          <a:pt x="94" y="99"/>
                        </a:lnTo>
                        <a:close/>
                      </a:path>
                    </a:pathLst>
                  </a:custGeom>
                  <a:solidFill>
                    <a:srgbClr val="660066"/>
                  </a:solidFill>
                  <a:ln w="3175">
                    <a:solidFill>
                      <a:schemeClr val="bg1"/>
                    </a:solidFill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grpSp>
                <p:nvGrpSpPr>
                  <p:cNvPr id="391" name="Group 1108"/>
                  <p:cNvGrpSpPr>
                    <a:grpSpLocks/>
                  </p:cNvGrpSpPr>
                  <p:nvPr/>
                </p:nvGrpSpPr>
                <p:grpSpPr bwMode="auto">
                  <a:xfrm>
                    <a:off x="2586038" y="66675"/>
                    <a:ext cx="1974850" cy="1930400"/>
                    <a:chOff x="1844" y="407"/>
                    <a:chExt cx="1341" cy="1311"/>
                  </a:xfrm>
                  <a:grpFill/>
                  <a:effectLst/>
                </p:grpSpPr>
                <p:sp>
                  <p:nvSpPr>
                    <p:cNvPr id="484" name="Freeform 1109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018" y="407"/>
                      <a:ext cx="9" cy="14"/>
                    </a:xfrm>
                    <a:custGeom>
                      <a:avLst/>
                      <a:gdLst/>
                      <a:ahLst/>
                      <a:cxnLst>
                        <a:cxn ang="0">
                          <a:pos x="3" y="12"/>
                        </a:cxn>
                        <a:cxn ang="0">
                          <a:pos x="3" y="8"/>
                        </a:cxn>
                        <a:cxn ang="0">
                          <a:pos x="3" y="8"/>
                        </a:cxn>
                        <a:cxn ang="0">
                          <a:pos x="0" y="8"/>
                        </a:cxn>
                        <a:cxn ang="0">
                          <a:pos x="0" y="8"/>
                        </a:cxn>
                        <a:cxn ang="0">
                          <a:pos x="0" y="8"/>
                        </a:cxn>
                        <a:cxn ang="0">
                          <a:pos x="0" y="8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3" y="3"/>
                        </a:cxn>
                        <a:cxn ang="0">
                          <a:pos x="3" y="3"/>
                        </a:cxn>
                        <a:cxn ang="0">
                          <a:pos x="8" y="0"/>
                        </a:cxn>
                        <a:cxn ang="0">
                          <a:pos x="8" y="0"/>
                        </a:cxn>
                        <a:cxn ang="0">
                          <a:pos x="8" y="0"/>
                        </a:cxn>
                        <a:cxn ang="0">
                          <a:pos x="8" y="0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5" y="8"/>
                        </a:cxn>
                        <a:cxn ang="0">
                          <a:pos x="5" y="8"/>
                        </a:cxn>
                        <a:cxn ang="0">
                          <a:pos x="3" y="12"/>
                        </a:cxn>
                        <a:cxn ang="0">
                          <a:pos x="3" y="12"/>
                        </a:cxn>
                        <a:cxn ang="0">
                          <a:pos x="3" y="12"/>
                        </a:cxn>
                        <a:cxn ang="0">
                          <a:pos x="3" y="12"/>
                        </a:cxn>
                        <a:cxn ang="0">
                          <a:pos x="3" y="12"/>
                        </a:cxn>
                        <a:cxn ang="0">
                          <a:pos x="3" y="12"/>
                        </a:cxn>
                      </a:cxnLst>
                      <a:rect l="0" t="0" r="r" b="b"/>
                      <a:pathLst>
                        <a:path w="8" h="12">
                          <a:moveTo>
                            <a:pt x="3" y="12"/>
                          </a:moveTo>
                          <a:lnTo>
                            <a:pt x="3" y="8"/>
                          </a:lnTo>
                          <a:lnTo>
                            <a:pt x="3" y="8"/>
                          </a:lnTo>
                          <a:lnTo>
                            <a:pt x="0" y="8"/>
                          </a:lnTo>
                          <a:lnTo>
                            <a:pt x="0" y="8"/>
                          </a:lnTo>
                          <a:lnTo>
                            <a:pt x="0" y="8"/>
                          </a:lnTo>
                          <a:lnTo>
                            <a:pt x="0" y="8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3" y="3"/>
                          </a:lnTo>
                          <a:lnTo>
                            <a:pt x="3" y="3"/>
                          </a:lnTo>
                          <a:lnTo>
                            <a:pt x="8" y="0"/>
                          </a:lnTo>
                          <a:lnTo>
                            <a:pt x="8" y="0"/>
                          </a:lnTo>
                          <a:lnTo>
                            <a:pt x="8" y="0"/>
                          </a:lnTo>
                          <a:lnTo>
                            <a:pt x="8" y="0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8"/>
                          </a:lnTo>
                          <a:lnTo>
                            <a:pt x="5" y="8"/>
                          </a:lnTo>
                          <a:lnTo>
                            <a:pt x="3" y="12"/>
                          </a:lnTo>
                          <a:lnTo>
                            <a:pt x="3" y="12"/>
                          </a:lnTo>
                          <a:lnTo>
                            <a:pt x="3" y="12"/>
                          </a:lnTo>
                          <a:lnTo>
                            <a:pt x="3" y="12"/>
                          </a:lnTo>
                          <a:lnTo>
                            <a:pt x="3" y="12"/>
                          </a:lnTo>
                          <a:lnTo>
                            <a:pt x="3" y="12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85" name="Freeform 1110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065" y="429"/>
                      <a:ext cx="67" cy="11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5"/>
                        </a:cxn>
                        <a:cxn ang="0">
                          <a:pos x="0" y="3"/>
                        </a:cxn>
                        <a:cxn ang="0">
                          <a:pos x="7" y="3"/>
                        </a:cxn>
                        <a:cxn ang="0">
                          <a:pos x="14" y="0"/>
                        </a:cxn>
                        <a:cxn ang="0">
                          <a:pos x="23" y="0"/>
                        </a:cxn>
                        <a:cxn ang="0">
                          <a:pos x="26" y="0"/>
                        </a:cxn>
                        <a:cxn ang="0">
                          <a:pos x="28" y="0"/>
                        </a:cxn>
                        <a:cxn ang="0">
                          <a:pos x="30" y="0"/>
                        </a:cxn>
                        <a:cxn ang="0">
                          <a:pos x="44" y="5"/>
                        </a:cxn>
                        <a:cxn ang="0">
                          <a:pos x="47" y="5"/>
                        </a:cxn>
                        <a:cxn ang="0">
                          <a:pos x="52" y="3"/>
                        </a:cxn>
                        <a:cxn ang="0">
                          <a:pos x="52" y="3"/>
                        </a:cxn>
                        <a:cxn ang="0">
                          <a:pos x="52" y="3"/>
                        </a:cxn>
                        <a:cxn ang="0">
                          <a:pos x="54" y="5"/>
                        </a:cxn>
                        <a:cxn ang="0">
                          <a:pos x="54" y="5"/>
                        </a:cxn>
                        <a:cxn ang="0">
                          <a:pos x="54" y="7"/>
                        </a:cxn>
                        <a:cxn ang="0">
                          <a:pos x="59" y="7"/>
                        </a:cxn>
                        <a:cxn ang="0">
                          <a:pos x="59" y="7"/>
                        </a:cxn>
                        <a:cxn ang="0">
                          <a:pos x="54" y="10"/>
                        </a:cxn>
                        <a:cxn ang="0">
                          <a:pos x="49" y="10"/>
                        </a:cxn>
                        <a:cxn ang="0">
                          <a:pos x="44" y="10"/>
                        </a:cxn>
                        <a:cxn ang="0">
                          <a:pos x="42" y="10"/>
                        </a:cxn>
                        <a:cxn ang="0">
                          <a:pos x="40" y="7"/>
                        </a:cxn>
                        <a:cxn ang="0">
                          <a:pos x="40" y="7"/>
                        </a:cxn>
                        <a:cxn ang="0">
                          <a:pos x="40" y="5"/>
                        </a:cxn>
                        <a:cxn ang="0">
                          <a:pos x="37" y="5"/>
                        </a:cxn>
                        <a:cxn ang="0">
                          <a:pos x="28" y="3"/>
                        </a:cxn>
                        <a:cxn ang="0">
                          <a:pos x="16" y="0"/>
                        </a:cxn>
                        <a:cxn ang="0">
                          <a:pos x="14" y="0"/>
                        </a:cxn>
                        <a:cxn ang="0">
                          <a:pos x="9" y="3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</a:cxnLst>
                      <a:rect l="0" t="0" r="r" b="b"/>
                      <a:pathLst>
                        <a:path w="59" h="10">
                          <a:moveTo>
                            <a:pt x="0" y="5"/>
                          </a:move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7" y="3"/>
                          </a:lnTo>
                          <a:lnTo>
                            <a:pt x="7" y="3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23" y="0"/>
                          </a:lnTo>
                          <a:lnTo>
                            <a:pt x="23" y="0"/>
                          </a:lnTo>
                          <a:lnTo>
                            <a:pt x="26" y="0"/>
                          </a:lnTo>
                          <a:lnTo>
                            <a:pt x="26" y="0"/>
                          </a:lnTo>
                          <a:lnTo>
                            <a:pt x="28" y="0"/>
                          </a:lnTo>
                          <a:lnTo>
                            <a:pt x="28" y="0"/>
                          </a:lnTo>
                          <a:lnTo>
                            <a:pt x="30" y="0"/>
                          </a:lnTo>
                          <a:lnTo>
                            <a:pt x="30" y="0"/>
                          </a:lnTo>
                          <a:lnTo>
                            <a:pt x="44" y="5"/>
                          </a:lnTo>
                          <a:lnTo>
                            <a:pt x="44" y="5"/>
                          </a:lnTo>
                          <a:lnTo>
                            <a:pt x="47" y="5"/>
                          </a:lnTo>
                          <a:lnTo>
                            <a:pt x="47" y="5"/>
                          </a:lnTo>
                          <a:lnTo>
                            <a:pt x="52" y="3"/>
                          </a:lnTo>
                          <a:lnTo>
                            <a:pt x="52" y="3"/>
                          </a:lnTo>
                          <a:lnTo>
                            <a:pt x="52" y="3"/>
                          </a:lnTo>
                          <a:lnTo>
                            <a:pt x="52" y="3"/>
                          </a:lnTo>
                          <a:lnTo>
                            <a:pt x="52" y="3"/>
                          </a:lnTo>
                          <a:lnTo>
                            <a:pt x="52" y="3"/>
                          </a:lnTo>
                          <a:lnTo>
                            <a:pt x="54" y="5"/>
                          </a:lnTo>
                          <a:lnTo>
                            <a:pt x="54" y="5"/>
                          </a:lnTo>
                          <a:lnTo>
                            <a:pt x="54" y="5"/>
                          </a:lnTo>
                          <a:lnTo>
                            <a:pt x="54" y="5"/>
                          </a:lnTo>
                          <a:lnTo>
                            <a:pt x="54" y="7"/>
                          </a:lnTo>
                          <a:lnTo>
                            <a:pt x="54" y="7"/>
                          </a:lnTo>
                          <a:lnTo>
                            <a:pt x="59" y="7"/>
                          </a:lnTo>
                          <a:lnTo>
                            <a:pt x="59" y="7"/>
                          </a:lnTo>
                          <a:lnTo>
                            <a:pt x="59" y="7"/>
                          </a:lnTo>
                          <a:lnTo>
                            <a:pt x="59" y="7"/>
                          </a:lnTo>
                          <a:lnTo>
                            <a:pt x="54" y="10"/>
                          </a:lnTo>
                          <a:lnTo>
                            <a:pt x="54" y="10"/>
                          </a:lnTo>
                          <a:lnTo>
                            <a:pt x="49" y="10"/>
                          </a:lnTo>
                          <a:lnTo>
                            <a:pt x="49" y="10"/>
                          </a:lnTo>
                          <a:lnTo>
                            <a:pt x="44" y="10"/>
                          </a:lnTo>
                          <a:lnTo>
                            <a:pt x="44" y="10"/>
                          </a:lnTo>
                          <a:lnTo>
                            <a:pt x="42" y="10"/>
                          </a:lnTo>
                          <a:lnTo>
                            <a:pt x="42" y="10"/>
                          </a:lnTo>
                          <a:lnTo>
                            <a:pt x="40" y="7"/>
                          </a:lnTo>
                          <a:lnTo>
                            <a:pt x="40" y="7"/>
                          </a:lnTo>
                          <a:lnTo>
                            <a:pt x="40" y="7"/>
                          </a:lnTo>
                          <a:lnTo>
                            <a:pt x="40" y="7"/>
                          </a:lnTo>
                          <a:lnTo>
                            <a:pt x="40" y="5"/>
                          </a:lnTo>
                          <a:lnTo>
                            <a:pt x="40" y="5"/>
                          </a:lnTo>
                          <a:lnTo>
                            <a:pt x="37" y="5"/>
                          </a:lnTo>
                          <a:lnTo>
                            <a:pt x="37" y="5"/>
                          </a:lnTo>
                          <a:lnTo>
                            <a:pt x="28" y="3"/>
                          </a:lnTo>
                          <a:lnTo>
                            <a:pt x="28" y="3"/>
                          </a:lnTo>
                          <a:lnTo>
                            <a:pt x="16" y="0"/>
                          </a:lnTo>
                          <a:lnTo>
                            <a:pt x="16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9" y="3"/>
                          </a:lnTo>
                          <a:lnTo>
                            <a:pt x="9" y="3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86" name="Freeform 1111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126" y="429"/>
                      <a:ext cx="97" cy="228"/>
                    </a:xfrm>
                    <a:custGeom>
                      <a:avLst/>
                      <a:gdLst/>
                      <a:ahLst/>
                      <a:cxnLst>
                        <a:cxn ang="0">
                          <a:pos x="45" y="189"/>
                        </a:cxn>
                        <a:cxn ang="0">
                          <a:pos x="42" y="178"/>
                        </a:cxn>
                        <a:cxn ang="0">
                          <a:pos x="42" y="178"/>
                        </a:cxn>
                        <a:cxn ang="0">
                          <a:pos x="26" y="175"/>
                        </a:cxn>
                        <a:cxn ang="0">
                          <a:pos x="26" y="168"/>
                        </a:cxn>
                        <a:cxn ang="0">
                          <a:pos x="40" y="159"/>
                        </a:cxn>
                        <a:cxn ang="0">
                          <a:pos x="45" y="154"/>
                        </a:cxn>
                        <a:cxn ang="0">
                          <a:pos x="52" y="147"/>
                        </a:cxn>
                        <a:cxn ang="0">
                          <a:pos x="54" y="144"/>
                        </a:cxn>
                        <a:cxn ang="0">
                          <a:pos x="50" y="133"/>
                        </a:cxn>
                        <a:cxn ang="0">
                          <a:pos x="54" y="123"/>
                        </a:cxn>
                        <a:cxn ang="0">
                          <a:pos x="54" y="123"/>
                        </a:cxn>
                        <a:cxn ang="0">
                          <a:pos x="52" y="123"/>
                        </a:cxn>
                        <a:cxn ang="0">
                          <a:pos x="52" y="109"/>
                        </a:cxn>
                        <a:cxn ang="0">
                          <a:pos x="57" y="81"/>
                        </a:cxn>
                        <a:cxn ang="0">
                          <a:pos x="61" y="74"/>
                        </a:cxn>
                        <a:cxn ang="0">
                          <a:pos x="64" y="76"/>
                        </a:cxn>
                        <a:cxn ang="0">
                          <a:pos x="66" y="69"/>
                        </a:cxn>
                        <a:cxn ang="0">
                          <a:pos x="54" y="64"/>
                        </a:cxn>
                        <a:cxn ang="0">
                          <a:pos x="45" y="64"/>
                        </a:cxn>
                        <a:cxn ang="0">
                          <a:pos x="33" y="59"/>
                        </a:cxn>
                        <a:cxn ang="0">
                          <a:pos x="35" y="50"/>
                        </a:cxn>
                        <a:cxn ang="0">
                          <a:pos x="33" y="43"/>
                        </a:cxn>
                        <a:cxn ang="0">
                          <a:pos x="28" y="41"/>
                        </a:cxn>
                        <a:cxn ang="0">
                          <a:pos x="28" y="43"/>
                        </a:cxn>
                        <a:cxn ang="0">
                          <a:pos x="24" y="43"/>
                        </a:cxn>
                        <a:cxn ang="0">
                          <a:pos x="19" y="38"/>
                        </a:cxn>
                        <a:cxn ang="0">
                          <a:pos x="19" y="29"/>
                        </a:cxn>
                        <a:cxn ang="0">
                          <a:pos x="19" y="24"/>
                        </a:cxn>
                        <a:cxn ang="0">
                          <a:pos x="7" y="7"/>
                        </a:cxn>
                        <a:cxn ang="0">
                          <a:pos x="5" y="5"/>
                        </a:cxn>
                        <a:cxn ang="0">
                          <a:pos x="0" y="5"/>
                        </a:cxn>
                        <a:cxn ang="0">
                          <a:pos x="0" y="0"/>
                        </a:cxn>
                        <a:cxn ang="0">
                          <a:pos x="9" y="7"/>
                        </a:cxn>
                        <a:cxn ang="0">
                          <a:pos x="28" y="26"/>
                        </a:cxn>
                        <a:cxn ang="0">
                          <a:pos x="31" y="33"/>
                        </a:cxn>
                        <a:cxn ang="0">
                          <a:pos x="40" y="41"/>
                        </a:cxn>
                        <a:cxn ang="0">
                          <a:pos x="42" y="48"/>
                        </a:cxn>
                        <a:cxn ang="0">
                          <a:pos x="40" y="48"/>
                        </a:cxn>
                        <a:cxn ang="0">
                          <a:pos x="42" y="55"/>
                        </a:cxn>
                        <a:cxn ang="0">
                          <a:pos x="52" y="59"/>
                        </a:cxn>
                        <a:cxn ang="0">
                          <a:pos x="64" y="64"/>
                        </a:cxn>
                        <a:cxn ang="0">
                          <a:pos x="73" y="71"/>
                        </a:cxn>
                        <a:cxn ang="0">
                          <a:pos x="76" y="83"/>
                        </a:cxn>
                        <a:cxn ang="0">
                          <a:pos x="76" y="95"/>
                        </a:cxn>
                        <a:cxn ang="0">
                          <a:pos x="80" y="104"/>
                        </a:cxn>
                        <a:cxn ang="0">
                          <a:pos x="78" y="109"/>
                        </a:cxn>
                        <a:cxn ang="0">
                          <a:pos x="83" y="111"/>
                        </a:cxn>
                        <a:cxn ang="0">
                          <a:pos x="85" y="111"/>
                        </a:cxn>
                        <a:cxn ang="0">
                          <a:pos x="76" y="123"/>
                        </a:cxn>
                        <a:cxn ang="0">
                          <a:pos x="76" y="118"/>
                        </a:cxn>
                        <a:cxn ang="0">
                          <a:pos x="78" y="116"/>
                        </a:cxn>
                        <a:cxn ang="0">
                          <a:pos x="71" y="116"/>
                        </a:cxn>
                        <a:cxn ang="0">
                          <a:pos x="59" y="135"/>
                        </a:cxn>
                        <a:cxn ang="0">
                          <a:pos x="59" y="152"/>
                        </a:cxn>
                        <a:cxn ang="0">
                          <a:pos x="57" y="166"/>
                        </a:cxn>
                        <a:cxn ang="0">
                          <a:pos x="59" y="187"/>
                        </a:cxn>
                        <a:cxn ang="0">
                          <a:pos x="57" y="201"/>
                        </a:cxn>
                        <a:cxn ang="0">
                          <a:pos x="54" y="201"/>
                        </a:cxn>
                      </a:cxnLst>
                      <a:rect l="0" t="0" r="r" b="b"/>
                      <a:pathLst>
                        <a:path w="85" h="201">
                          <a:moveTo>
                            <a:pt x="54" y="201"/>
                          </a:moveTo>
                          <a:lnTo>
                            <a:pt x="52" y="201"/>
                          </a:lnTo>
                          <a:lnTo>
                            <a:pt x="52" y="201"/>
                          </a:lnTo>
                          <a:lnTo>
                            <a:pt x="45" y="189"/>
                          </a:lnTo>
                          <a:lnTo>
                            <a:pt x="45" y="189"/>
                          </a:lnTo>
                          <a:lnTo>
                            <a:pt x="45" y="185"/>
                          </a:lnTo>
                          <a:lnTo>
                            <a:pt x="45" y="185"/>
                          </a:lnTo>
                          <a:lnTo>
                            <a:pt x="42" y="180"/>
                          </a:lnTo>
                          <a:lnTo>
                            <a:pt x="42" y="180"/>
                          </a:lnTo>
                          <a:lnTo>
                            <a:pt x="42" y="178"/>
                          </a:lnTo>
                          <a:lnTo>
                            <a:pt x="42" y="178"/>
                          </a:lnTo>
                          <a:lnTo>
                            <a:pt x="42" y="178"/>
                          </a:lnTo>
                          <a:lnTo>
                            <a:pt x="42" y="178"/>
                          </a:lnTo>
                          <a:lnTo>
                            <a:pt x="42" y="178"/>
                          </a:lnTo>
                          <a:lnTo>
                            <a:pt x="42" y="178"/>
                          </a:lnTo>
                          <a:lnTo>
                            <a:pt x="40" y="178"/>
                          </a:lnTo>
                          <a:lnTo>
                            <a:pt x="40" y="178"/>
                          </a:lnTo>
                          <a:lnTo>
                            <a:pt x="33" y="175"/>
                          </a:lnTo>
                          <a:lnTo>
                            <a:pt x="33" y="175"/>
                          </a:lnTo>
                          <a:lnTo>
                            <a:pt x="26" y="175"/>
                          </a:lnTo>
                          <a:lnTo>
                            <a:pt x="26" y="175"/>
                          </a:lnTo>
                          <a:lnTo>
                            <a:pt x="26" y="173"/>
                          </a:lnTo>
                          <a:lnTo>
                            <a:pt x="26" y="173"/>
                          </a:lnTo>
                          <a:lnTo>
                            <a:pt x="26" y="168"/>
                          </a:lnTo>
                          <a:lnTo>
                            <a:pt x="26" y="168"/>
                          </a:lnTo>
                          <a:lnTo>
                            <a:pt x="26" y="168"/>
                          </a:lnTo>
                          <a:lnTo>
                            <a:pt x="26" y="168"/>
                          </a:lnTo>
                          <a:lnTo>
                            <a:pt x="31" y="166"/>
                          </a:lnTo>
                          <a:lnTo>
                            <a:pt x="31" y="166"/>
                          </a:lnTo>
                          <a:lnTo>
                            <a:pt x="40" y="159"/>
                          </a:lnTo>
                          <a:lnTo>
                            <a:pt x="40" y="159"/>
                          </a:lnTo>
                          <a:lnTo>
                            <a:pt x="45" y="154"/>
                          </a:lnTo>
                          <a:lnTo>
                            <a:pt x="45" y="154"/>
                          </a:lnTo>
                          <a:lnTo>
                            <a:pt x="45" y="154"/>
                          </a:lnTo>
                          <a:lnTo>
                            <a:pt x="45" y="154"/>
                          </a:lnTo>
                          <a:lnTo>
                            <a:pt x="47" y="152"/>
                          </a:lnTo>
                          <a:lnTo>
                            <a:pt x="47" y="152"/>
                          </a:lnTo>
                          <a:lnTo>
                            <a:pt x="50" y="149"/>
                          </a:lnTo>
                          <a:lnTo>
                            <a:pt x="50" y="149"/>
                          </a:lnTo>
                          <a:lnTo>
                            <a:pt x="52" y="147"/>
                          </a:lnTo>
                          <a:lnTo>
                            <a:pt x="52" y="147"/>
                          </a:lnTo>
                          <a:lnTo>
                            <a:pt x="54" y="147"/>
                          </a:lnTo>
                          <a:lnTo>
                            <a:pt x="54" y="147"/>
                          </a:lnTo>
                          <a:lnTo>
                            <a:pt x="54" y="144"/>
                          </a:lnTo>
                          <a:lnTo>
                            <a:pt x="54" y="144"/>
                          </a:lnTo>
                          <a:lnTo>
                            <a:pt x="52" y="140"/>
                          </a:lnTo>
                          <a:lnTo>
                            <a:pt x="52" y="140"/>
                          </a:lnTo>
                          <a:lnTo>
                            <a:pt x="47" y="135"/>
                          </a:lnTo>
                          <a:lnTo>
                            <a:pt x="47" y="135"/>
                          </a:lnTo>
                          <a:lnTo>
                            <a:pt x="50" y="133"/>
                          </a:lnTo>
                          <a:lnTo>
                            <a:pt x="50" y="133"/>
                          </a:lnTo>
                          <a:lnTo>
                            <a:pt x="52" y="128"/>
                          </a:lnTo>
                          <a:lnTo>
                            <a:pt x="52" y="128"/>
                          </a:lnTo>
                          <a:lnTo>
                            <a:pt x="54" y="123"/>
                          </a:lnTo>
                          <a:lnTo>
                            <a:pt x="54" y="123"/>
                          </a:lnTo>
                          <a:lnTo>
                            <a:pt x="54" y="123"/>
                          </a:lnTo>
                          <a:lnTo>
                            <a:pt x="54" y="123"/>
                          </a:lnTo>
                          <a:lnTo>
                            <a:pt x="54" y="123"/>
                          </a:lnTo>
                          <a:lnTo>
                            <a:pt x="54" y="123"/>
                          </a:lnTo>
                          <a:lnTo>
                            <a:pt x="54" y="123"/>
                          </a:lnTo>
                          <a:lnTo>
                            <a:pt x="54" y="123"/>
                          </a:lnTo>
                          <a:lnTo>
                            <a:pt x="54" y="123"/>
                          </a:lnTo>
                          <a:lnTo>
                            <a:pt x="54" y="123"/>
                          </a:lnTo>
                          <a:lnTo>
                            <a:pt x="52" y="123"/>
                          </a:lnTo>
                          <a:lnTo>
                            <a:pt x="52" y="123"/>
                          </a:lnTo>
                          <a:lnTo>
                            <a:pt x="50" y="114"/>
                          </a:lnTo>
                          <a:lnTo>
                            <a:pt x="50" y="114"/>
                          </a:lnTo>
                          <a:lnTo>
                            <a:pt x="50" y="111"/>
                          </a:lnTo>
                          <a:lnTo>
                            <a:pt x="50" y="111"/>
                          </a:lnTo>
                          <a:lnTo>
                            <a:pt x="52" y="109"/>
                          </a:lnTo>
                          <a:lnTo>
                            <a:pt x="52" y="109"/>
                          </a:lnTo>
                          <a:lnTo>
                            <a:pt x="52" y="100"/>
                          </a:lnTo>
                          <a:lnTo>
                            <a:pt x="52" y="100"/>
                          </a:lnTo>
                          <a:lnTo>
                            <a:pt x="57" y="81"/>
                          </a:lnTo>
                          <a:lnTo>
                            <a:pt x="57" y="81"/>
                          </a:lnTo>
                          <a:lnTo>
                            <a:pt x="59" y="78"/>
                          </a:lnTo>
                          <a:lnTo>
                            <a:pt x="59" y="78"/>
                          </a:lnTo>
                          <a:lnTo>
                            <a:pt x="61" y="76"/>
                          </a:lnTo>
                          <a:lnTo>
                            <a:pt x="61" y="76"/>
                          </a:lnTo>
                          <a:lnTo>
                            <a:pt x="61" y="74"/>
                          </a:lnTo>
                          <a:lnTo>
                            <a:pt x="61" y="74"/>
                          </a:lnTo>
                          <a:lnTo>
                            <a:pt x="64" y="76"/>
                          </a:lnTo>
                          <a:lnTo>
                            <a:pt x="64" y="76"/>
                          </a:lnTo>
                          <a:lnTo>
                            <a:pt x="64" y="76"/>
                          </a:lnTo>
                          <a:lnTo>
                            <a:pt x="64" y="76"/>
                          </a:lnTo>
                          <a:lnTo>
                            <a:pt x="64" y="76"/>
                          </a:lnTo>
                          <a:lnTo>
                            <a:pt x="64" y="76"/>
                          </a:lnTo>
                          <a:lnTo>
                            <a:pt x="66" y="74"/>
                          </a:lnTo>
                          <a:lnTo>
                            <a:pt x="66" y="74"/>
                          </a:lnTo>
                          <a:lnTo>
                            <a:pt x="66" y="69"/>
                          </a:lnTo>
                          <a:lnTo>
                            <a:pt x="66" y="69"/>
                          </a:lnTo>
                          <a:lnTo>
                            <a:pt x="64" y="67"/>
                          </a:lnTo>
                          <a:lnTo>
                            <a:pt x="64" y="67"/>
                          </a:lnTo>
                          <a:lnTo>
                            <a:pt x="54" y="64"/>
                          </a:lnTo>
                          <a:lnTo>
                            <a:pt x="54" y="64"/>
                          </a:lnTo>
                          <a:lnTo>
                            <a:pt x="47" y="64"/>
                          </a:lnTo>
                          <a:lnTo>
                            <a:pt x="47" y="64"/>
                          </a:lnTo>
                          <a:lnTo>
                            <a:pt x="45" y="64"/>
                          </a:lnTo>
                          <a:lnTo>
                            <a:pt x="45" y="64"/>
                          </a:lnTo>
                          <a:lnTo>
                            <a:pt x="45" y="64"/>
                          </a:lnTo>
                          <a:lnTo>
                            <a:pt x="45" y="64"/>
                          </a:lnTo>
                          <a:lnTo>
                            <a:pt x="45" y="67"/>
                          </a:lnTo>
                          <a:lnTo>
                            <a:pt x="45" y="67"/>
                          </a:lnTo>
                          <a:lnTo>
                            <a:pt x="33" y="59"/>
                          </a:lnTo>
                          <a:lnTo>
                            <a:pt x="33" y="59"/>
                          </a:lnTo>
                          <a:lnTo>
                            <a:pt x="33" y="57"/>
                          </a:lnTo>
                          <a:lnTo>
                            <a:pt x="33" y="57"/>
                          </a:lnTo>
                          <a:lnTo>
                            <a:pt x="33" y="55"/>
                          </a:lnTo>
                          <a:lnTo>
                            <a:pt x="33" y="55"/>
                          </a:lnTo>
                          <a:lnTo>
                            <a:pt x="35" y="50"/>
                          </a:lnTo>
                          <a:lnTo>
                            <a:pt x="35" y="50"/>
                          </a:lnTo>
                          <a:lnTo>
                            <a:pt x="35" y="50"/>
                          </a:lnTo>
                          <a:lnTo>
                            <a:pt x="35" y="50"/>
                          </a:lnTo>
                          <a:lnTo>
                            <a:pt x="33" y="43"/>
                          </a:lnTo>
                          <a:lnTo>
                            <a:pt x="33" y="43"/>
                          </a:lnTo>
                          <a:lnTo>
                            <a:pt x="31" y="41"/>
                          </a:lnTo>
                          <a:lnTo>
                            <a:pt x="31" y="41"/>
                          </a:lnTo>
                          <a:lnTo>
                            <a:pt x="31" y="41"/>
                          </a:lnTo>
                          <a:lnTo>
                            <a:pt x="31" y="41"/>
                          </a:lnTo>
                          <a:lnTo>
                            <a:pt x="28" y="41"/>
                          </a:lnTo>
                          <a:lnTo>
                            <a:pt x="28" y="41"/>
                          </a:lnTo>
                          <a:lnTo>
                            <a:pt x="28" y="43"/>
                          </a:lnTo>
                          <a:lnTo>
                            <a:pt x="28" y="43"/>
                          </a:lnTo>
                          <a:lnTo>
                            <a:pt x="28" y="43"/>
                          </a:lnTo>
                          <a:lnTo>
                            <a:pt x="28" y="43"/>
                          </a:lnTo>
                          <a:lnTo>
                            <a:pt x="26" y="43"/>
                          </a:lnTo>
                          <a:lnTo>
                            <a:pt x="26" y="43"/>
                          </a:lnTo>
                          <a:lnTo>
                            <a:pt x="26" y="43"/>
                          </a:lnTo>
                          <a:lnTo>
                            <a:pt x="26" y="43"/>
                          </a:lnTo>
                          <a:lnTo>
                            <a:pt x="24" y="43"/>
                          </a:lnTo>
                          <a:lnTo>
                            <a:pt x="24" y="43"/>
                          </a:lnTo>
                          <a:lnTo>
                            <a:pt x="21" y="43"/>
                          </a:lnTo>
                          <a:lnTo>
                            <a:pt x="21" y="43"/>
                          </a:lnTo>
                          <a:lnTo>
                            <a:pt x="19" y="38"/>
                          </a:lnTo>
                          <a:lnTo>
                            <a:pt x="19" y="38"/>
                          </a:lnTo>
                          <a:lnTo>
                            <a:pt x="19" y="36"/>
                          </a:lnTo>
                          <a:lnTo>
                            <a:pt x="19" y="36"/>
                          </a:lnTo>
                          <a:lnTo>
                            <a:pt x="19" y="31"/>
                          </a:lnTo>
                          <a:lnTo>
                            <a:pt x="19" y="31"/>
                          </a:lnTo>
                          <a:lnTo>
                            <a:pt x="19" y="29"/>
                          </a:lnTo>
                          <a:lnTo>
                            <a:pt x="19" y="29"/>
                          </a:lnTo>
                          <a:lnTo>
                            <a:pt x="19" y="26"/>
                          </a:lnTo>
                          <a:lnTo>
                            <a:pt x="19" y="26"/>
                          </a:lnTo>
                          <a:lnTo>
                            <a:pt x="19" y="24"/>
                          </a:lnTo>
                          <a:lnTo>
                            <a:pt x="19" y="24"/>
                          </a:lnTo>
                          <a:lnTo>
                            <a:pt x="16" y="19"/>
                          </a:lnTo>
                          <a:lnTo>
                            <a:pt x="16" y="19"/>
                          </a:lnTo>
                          <a:lnTo>
                            <a:pt x="14" y="17"/>
                          </a:lnTo>
                          <a:lnTo>
                            <a:pt x="14" y="1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5" y="3"/>
                          </a:lnTo>
                          <a:lnTo>
                            <a:pt x="5" y="3"/>
                          </a:lnTo>
                          <a:lnTo>
                            <a:pt x="9" y="7"/>
                          </a:lnTo>
                          <a:lnTo>
                            <a:pt x="9" y="7"/>
                          </a:lnTo>
                          <a:lnTo>
                            <a:pt x="21" y="22"/>
                          </a:lnTo>
                          <a:lnTo>
                            <a:pt x="21" y="22"/>
                          </a:lnTo>
                          <a:lnTo>
                            <a:pt x="28" y="26"/>
                          </a:lnTo>
                          <a:lnTo>
                            <a:pt x="28" y="26"/>
                          </a:lnTo>
                          <a:lnTo>
                            <a:pt x="26" y="29"/>
                          </a:lnTo>
                          <a:lnTo>
                            <a:pt x="26" y="29"/>
                          </a:lnTo>
                          <a:lnTo>
                            <a:pt x="28" y="29"/>
                          </a:lnTo>
                          <a:lnTo>
                            <a:pt x="28" y="29"/>
                          </a:lnTo>
                          <a:lnTo>
                            <a:pt x="31" y="33"/>
                          </a:lnTo>
                          <a:lnTo>
                            <a:pt x="31" y="33"/>
                          </a:lnTo>
                          <a:lnTo>
                            <a:pt x="35" y="36"/>
                          </a:lnTo>
                          <a:lnTo>
                            <a:pt x="35" y="36"/>
                          </a:lnTo>
                          <a:lnTo>
                            <a:pt x="40" y="41"/>
                          </a:lnTo>
                          <a:lnTo>
                            <a:pt x="40" y="41"/>
                          </a:lnTo>
                          <a:lnTo>
                            <a:pt x="42" y="45"/>
                          </a:lnTo>
                          <a:lnTo>
                            <a:pt x="42" y="45"/>
                          </a:lnTo>
                          <a:lnTo>
                            <a:pt x="42" y="48"/>
                          </a:lnTo>
                          <a:lnTo>
                            <a:pt x="42" y="48"/>
                          </a:lnTo>
                          <a:lnTo>
                            <a:pt x="42" y="48"/>
                          </a:lnTo>
                          <a:lnTo>
                            <a:pt x="42" y="48"/>
                          </a:lnTo>
                          <a:lnTo>
                            <a:pt x="40" y="48"/>
                          </a:lnTo>
                          <a:lnTo>
                            <a:pt x="40" y="48"/>
                          </a:lnTo>
                          <a:lnTo>
                            <a:pt x="40" y="48"/>
                          </a:lnTo>
                          <a:lnTo>
                            <a:pt x="40" y="48"/>
                          </a:lnTo>
                          <a:lnTo>
                            <a:pt x="40" y="50"/>
                          </a:lnTo>
                          <a:lnTo>
                            <a:pt x="40" y="50"/>
                          </a:lnTo>
                          <a:lnTo>
                            <a:pt x="42" y="52"/>
                          </a:lnTo>
                          <a:lnTo>
                            <a:pt x="42" y="52"/>
                          </a:lnTo>
                          <a:lnTo>
                            <a:pt x="42" y="55"/>
                          </a:lnTo>
                          <a:lnTo>
                            <a:pt x="42" y="55"/>
                          </a:lnTo>
                          <a:lnTo>
                            <a:pt x="52" y="59"/>
                          </a:lnTo>
                          <a:lnTo>
                            <a:pt x="52" y="59"/>
                          </a:lnTo>
                          <a:lnTo>
                            <a:pt x="52" y="59"/>
                          </a:lnTo>
                          <a:lnTo>
                            <a:pt x="52" y="59"/>
                          </a:lnTo>
                          <a:lnTo>
                            <a:pt x="54" y="59"/>
                          </a:lnTo>
                          <a:lnTo>
                            <a:pt x="54" y="59"/>
                          </a:lnTo>
                          <a:lnTo>
                            <a:pt x="59" y="59"/>
                          </a:lnTo>
                          <a:lnTo>
                            <a:pt x="59" y="59"/>
                          </a:lnTo>
                          <a:lnTo>
                            <a:pt x="64" y="64"/>
                          </a:lnTo>
                          <a:lnTo>
                            <a:pt x="64" y="64"/>
                          </a:lnTo>
                          <a:lnTo>
                            <a:pt x="66" y="64"/>
                          </a:lnTo>
                          <a:lnTo>
                            <a:pt x="66" y="64"/>
                          </a:lnTo>
                          <a:lnTo>
                            <a:pt x="73" y="71"/>
                          </a:lnTo>
                          <a:lnTo>
                            <a:pt x="73" y="71"/>
                          </a:lnTo>
                          <a:lnTo>
                            <a:pt x="76" y="74"/>
                          </a:lnTo>
                          <a:lnTo>
                            <a:pt x="76" y="74"/>
                          </a:lnTo>
                          <a:lnTo>
                            <a:pt x="78" y="78"/>
                          </a:lnTo>
                          <a:lnTo>
                            <a:pt x="78" y="78"/>
                          </a:lnTo>
                          <a:lnTo>
                            <a:pt x="76" y="83"/>
                          </a:lnTo>
                          <a:lnTo>
                            <a:pt x="76" y="83"/>
                          </a:lnTo>
                          <a:lnTo>
                            <a:pt x="76" y="90"/>
                          </a:lnTo>
                          <a:lnTo>
                            <a:pt x="76" y="90"/>
                          </a:lnTo>
                          <a:lnTo>
                            <a:pt x="76" y="95"/>
                          </a:lnTo>
                          <a:lnTo>
                            <a:pt x="76" y="95"/>
                          </a:lnTo>
                          <a:lnTo>
                            <a:pt x="76" y="97"/>
                          </a:lnTo>
                          <a:lnTo>
                            <a:pt x="76" y="97"/>
                          </a:lnTo>
                          <a:lnTo>
                            <a:pt x="78" y="100"/>
                          </a:lnTo>
                          <a:lnTo>
                            <a:pt x="78" y="100"/>
                          </a:lnTo>
                          <a:lnTo>
                            <a:pt x="80" y="104"/>
                          </a:lnTo>
                          <a:lnTo>
                            <a:pt x="80" y="104"/>
                          </a:lnTo>
                          <a:lnTo>
                            <a:pt x="78" y="107"/>
                          </a:lnTo>
                          <a:lnTo>
                            <a:pt x="78" y="107"/>
                          </a:lnTo>
                          <a:lnTo>
                            <a:pt x="78" y="109"/>
                          </a:lnTo>
                          <a:lnTo>
                            <a:pt x="78" y="109"/>
                          </a:lnTo>
                          <a:lnTo>
                            <a:pt x="78" y="109"/>
                          </a:lnTo>
                          <a:lnTo>
                            <a:pt x="78" y="109"/>
                          </a:lnTo>
                          <a:lnTo>
                            <a:pt x="80" y="111"/>
                          </a:lnTo>
                          <a:lnTo>
                            <a:pt x="80" y="111"/>
                          </a:lnTo>
                          <a:lnTo>
                            <a:pt x="83" y="111"/>
                          </a:lnTo>
                          <a:lnTo>
                            <a:pt x="83" y="111"/>
                          </a:lnTo>
                          <a:lnTo>
                            <a:pt x="83" y="111"/>
                          </a:lnTo>
                          <a:lnTo>
                            <a:pt x="83" y="111"/>
                          </a:lnTo>
                          <a:lnTo>
                            <a:pt x="85" y="111"/>
                          </a:lnTo>
                          <a:lnTo>
                            <a:pt x="85" y="111"/>
                          </a:lnTo>
                          <a:lnTo>
                            <a:pt x="83" y="116"/>
                          </a:lnTo>
                          <a:lnTo>
                            <a:pt x="83" y="116"/>
                          </a:lnTo>
                          <a:lnTo>
                            <a:pt x="83" y="118"/>
                          </a:lnTo>
                          <a:lnTo>
                            <a:pt x="83" y="118"/>
                          </a:lnTo>
                          <a:lnTo>
                            <a:pt x="76" y="123"/>
                          </a:lnTo>
                          <a:lnTo>
                            <a:pt x="76" y="123"/>
                          </a:lnTo>
                          <a:lnTo>
                            <a:pt x="73" y="118"/>
                          </a:lnTo>
                          <a:lnTo>
                            <a:pt x="73" y="118"/>
                          </a:lnTo>
                          <a:lnTo>
                            <a:pt x="76" y="118"/>
                          </a:lnTo>
                          <a:lnTo>
                            <a:pt x="76" y="118"/>
                          </a:lnTo>
                          <a:lnTo>
                            <a:pt x="78" y="118"/>
                          </a:lnTo>
                          <a:lnTo>
                            <a:pt x="78" y="118"/>
                          </a:lnTo>
                          <a:lnTo>
                            <a:pt x="78" y="118"/>
                          </a:lnTo>
                          <a:lnTo>
                            <a:pt x="78" y="118"/>
                          </a:lnTo>
                          <a:lnTo>
                            <a:pt x="78" y="116"/>
                          </a:lnTo>
                          <a:lnTo>
                            <a:pt x="78" y="116"/>
                          </a:lnTo>
                          <a:lnTo>
                            <a:pt x="78" y="114"/>
                          </a:lnTo>
                          <a:lnTo>
                            <a:pt x="78" y="114"/>
                          </a:lnTo>
                          <a:lnTo>
                            <a:pt x="71" y="116"/>
                          </a:lnTo>
                          <a:lnTo>
                            <a:pt x="71" y="116"/>
                          </a:lnTo>
                          <a:lnTo>
                            <a:pt x="68" y="118"/>
                          </a:lnTo>
                          <a:lnTo>
                            <a:pt x="68" y="118"/>
                          </a:lnTo>
                          <a:lnTo>
                            <a:pt x="61" y="128"/>
                          </a:lnTo>
                          <a:lnTo>
                            <a:pt x="61" y="128"/>
                          </a:lnTo>
                          <a:lnTo>
                            <a:pt x="59" y="135"/>
                          </a:lnTo>
                          <a:lnTo>
                            <a:pt x="59" y="135"/>
                          </a:lnTo>
                          <a:lnTo>
                            <a:pt x="59" y="147"/>
                          </a:lnTo>
                          <a:lnTo>
                            <a:pt x="59" y="147"/>
                          </a:lnTo>
                          <a:lnTo>
                            <a:pt x="59" y="152"/>
                          </a:lnTo>
                          <a:lnTo>
                            <a:pt x="59" y="152"/>
                          </a:lnTo>
                          <a:lnTo>
                            <a:pt x="59" y="154"/>
                          </a:lnTo>
                          <a:lnTo>
                            <a:pt x="59" y="154"/>
                          </a:lnTo>
                          <a:lnTo>
                            <a:pt x="57" y="163"/>
                          </a:lnTo>
                          <a:lnTo>
                            <a:pt x="57" y="163"/>
                          </a:lnTo>
                          <a:lnTo>
                            <a:pt x="57" y="166"/>
                          </a:lnTo>
                          <a:lnTo>
                            <a:pt x="57" y="166"/>
                          </a:lnTo>
                          <a:lnTo>
                            <a:pt x="59" y="185"/>
                          </a:lnTo>
                          <a:lnTo>
                            <a:pt x="59" y="185"/>
                          </a:lnTo>
                          <a:lnTo>
                            <a:pt x="59" y="187"/>
                          </a:lnTo>
                          <a:lnTo>
                            <a:pt x="59" y="187"/>
                          </a:lnTo>
                          <a:lnTo>
                            <a:pt x="57" y="199"/>
                          </a:lnTo>
                          <a:lnTo>
                            <a:pt x="57" y="199"/>
                          </a:lnTo>
                          <a:lnTo>
                            <a:pt x="57" y="199"/>
                          </a:lnTo>
                          <a:lnTo>
                            <a:pt x="57" y="199"/>
                          </a:lnTo>
                          <a:lnTo>
                            <a:pt x="57" y="201"/>
                          </a:lnTo>
                          <a:lnTo>
                            <a:pt x="57" y="201"/>
                          </a:lnTo>
                          <a:lnTo>
                            <a:pt x="54" y="201"/>
                          </a:lnTo>
                          <a:lnTo>
                            <a:pt x="54" y="201"/>
                          </a:lnTo>
                          <a:lnTo>
                            <a:pt x="54" y="201"/>
                          </a:lnTo>
                          <a:lnTo>
                            <a:pt x="54" y="201"/>
                          </a:lnTo>
                          <a:lnTo>
                            <a:pt x="54" y="201"/>
                          </a:lnTo>
                          <a:lnTo>
                            <a:pt x="54" y="201"/>
                          </a:lnTo>
                          <a:close/>
                        </a:path>
                      </a:pathLst>
                    </a:custGeom>
                    <a:solidFill>
                      <a:srgbClr val="0070C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87" name="Freeform 1112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895" y="454"/>
                      <a:ext cx="194" cy="67"/>
                    </a:xfrm>
                    <a:custGeom>
                      <a:avLst/>
                      <a:gdLst/>
                      <a:ahLst/>
                      <a:cxnLst>
                        <a:cxn ang="0">
                          <a:pos x="33" y="56"/>
                        </a:cxn>
                        <a:cxn ang="0">
                          <a:pos x="19" y="42"/>
                        </a:cxn>
                        <a:cxn ang="0">
                          <a:pos x="12" y="33"/>
                        </a:cxn>
                        <a:cxn ang="0">
                          <a:pos x="4" y="23"/>
                        </a:cxn>
                        <a:cxn ang="0">
                          <a:pos x="14" y="28"/>
                        </a:cxn>
                        <a:cxn ang="0">
                          <a:pos x="28" y="37"/>
                        </a:cxn>
                        <a:cxn ang="0">
                          <a:pos x="28" y="37"/>
                        </a:cxn>
                        <a:cxn ang="0">
                          <a:pos x="35" y="45"/>
                        </a:cxn>
                        <a:cxn ang="0">
                          <a:pos x="38" y="45"/>
                        </a:cxn>
                        <a:cxn ang="0">
                          <a:pos x="52" y="35"/>
                        </a:cxn>
                        <a:cxn ang="0">
                          <a:pos x="56" y="26"/>
                        </a:cxn>
                        <a:cxn ang="0">
                          <a:pos x="56" y="21"/>
                        </a:cxn>
                        <a:cxn ang="0">
                          <a:pos x="56" y="16"/>
                        </a:cxn>
                        <a:cxn ang="0">
                          <a:pos x="59" y="0"/>
                        </a:cxn>
                        <a:cxn ang="0">
                          <a:pos x="61" y="0"/>
                        </a:cxn>
                        <a:cxn ang="0">
                          <a:pos x="64" y="7"/>
                        </a:cxn>
                        <a:cxn ang="0">
                          <a:pos x="64" y="9"/>
                        </a:cxn>
                        <a:cxn ang="0">
                          <a:pos x="66" y="11"/>
                        </a:cxn>
                        <a:cxn ang="0">
                          <a:pos x="66" y="9"/>
                        </a:cxn>
                        <a:cxn ang="0">
                          <a:pos x="75" y="4"/>
                        </a:cxn>
                        <a:cxn ang="0">
                          <a:pos x="75" y="7"/>
                        </a:cxn>
                        <a:cxn ang="0">
                          <a:pos x="73" y="7"/>
                        </a:cxn>
                        <a:cxn ang="0">
                          <a:pos x="71" y="9"/>
                        </a:cxn>
                        <a:cxn ang="0">
                          <a:pos x="68" y="11"/>
                        </a:cxn>
                        <a:cxn ang="0">
                          <a:pos x="90" y="21"/>
                        </a:cxn>
                        <a:cxn ang="0">
                          <a:pos x="101" y="21"/>
                        </a:cxn>
                        <a:cxn ang="0">
                          <a:pos x="104" y="16"/>
                        </a:cxn>
                        <a:cxn ang="0">
                          <a:pos x="113" y="19"/>
                        </a:cxn>
                        <a:cxn ang="0">
                          <a:pos x="118" y="16"/>
                        </a:cxn>
                        <a:cxn ang="0">
                          <a:pos x="123" y="16"/>
                        </a:cxn>
                        <a:cxn ang="0">
                          <a:pos x="123" y="16"/>
                        </a:cxn>
                        <a:cxn ang="0">
                          <a:pos x="141" y="14"/>
                        </a:cxn>
                        <a:cxn ang="0">
                          <a:pos x="144" y="14"/>
                        </a:cxn>
                        <a:cxn ang="0">
                          <a:pos x="146" y="14"/>
                        </a:cxn>
                        <a:cxn ang="0">
                          <a:pos x="151" y="11"/>
                        </a:cxn>
                        <a:cxn ang="0">
                          <a:pos x="158" y="9"/>
                        </a:cxn>
                        <a:cxn ang="0">
                          <a:pos x="158" y="9"/>
                        </a:cxn>
                        <a:cxn ang="0">
                          <a:pos x="156" y="14"/>
                        </a:cxn>
                        <a:cxn ang="0">
                          <a:pos x="156" y="16"/>
                        </a:cxn>
                        <a:cxn ang="0">
                          <a:pos x="158" y="23"/>
                        </a:cxn>
                        <a:cxn ang="0">
                          <a:pos x="160" y="26"/>
                        </a:cxn>
                        <a:cxn ang="0">
                          <a:pos x="167" y="42"/>
                        </a:cxn>
                        <a:cxn ang="0">
                          <a:pos x="170" y="45"/>
                        </a:cxn>
                        <a:cxn ang="0">
                          <a:pos x="167" y="52"/>
                        </a:cxn>
                        <a:cxn ang="0">
                          <a:pos x="167" y="52"/>
                        </a:cxn>
                        <a:cxn ang="0">
                          <a:pos x="163" y="49"/>
                        </a:cxn>
                        <a:cxn ang="0">
                          <a:pos x="163" y="47"/>
                        </a:cxn>
                        <a:cxn ang="0">
                          <a:pos x="153" y="30"/>
                        </a:cxn>
                        <a:cxn ang="0">
                          <a:pos x="146" y="28"/>
                        </a:cxn>
                        <a:cxn ang="0">
                          <a:pos x="125" y="30"/>
                        </a:cxn>
                        <a:cxn ang="0">
                          <a:pos x="108" y="35"/>
                        </a:cxn>
                        <a:cxn ang="0">
                          <a:pos x="104" y="33"/>
                        </a:cxn>
                        <a:cxn ang="0">
                          <a:pos x="101" y="35"/>
                        </a:cxn>
                        <a:cxn ang="0">
                          <a:pos x="92" y="37"/>
                        </a:cxn>
                        <a:cxn ang="0">
                          <a:pos x="87" y="37"/>
                        </a:cxn>
                        <a:cxn ang="0">
                          <a:pos x="75" y="42"/>
                        </a:cxn>
                        <a:cxn ang="0">
                          <a:pos x="59" y="49"/>
                        </a:cxn>
                        <a:cxn ang="0">
                          <a:pos x="42" y="59"/>
                        </a:cxn>
                        <a:cxn ang="0">
                          <a:pos x="42" y="59"/>
                        </a:cxn>
                        <a:cxn ang="0">
                          <a:pos x="38" y="59"/>
                        </a:cxn>
                      </a:cxnLst>
                      <a:rect l="0" t="0" r="r" b="b"/>
                      <a:pathLst>
                        <a:path w="170" h="59">
                          <a:moveTo>
                            <a:pt x="38" y="59"/>
                          </a:moveTo>
                          <a:lnTo>
                            <a:pt x="33" y="56"/>
                          </a:lnTo>
                          <a:lnTo>
                            <a:pt x="33" y="56"/>
                          </a:lnTo>
                          <a:lnTo>
                            <a:pt x="23" y="47"/>
                          </a:lnTo>
                          <a:lnTo>
                            <a:pt x="23" y="47"/>
                          </a:lnTo>
                          <a:lnTo>
                            <a:pt x="19" y="42"/>
                          </a:lnTo>
                          <a:lnTo>
                            <a:pt x="19" y="42"/>
                          </a:lnTo>
                          <a:lnTo>
                            <a:pt x="12" y="33"/>
                          </a:lnTo>
                          <a:lnTo>
                            <a:pt x="12" y="33"/>
                          </a:lnTo>
                          <a:lnTo>
                            <a:pt x="0" y="21"/>
                          </a:lnTo>
                          <a:lnTo>
                            <a:pt x="0" y="21"/>
                          </a:lnTo>
                          <a:lnTo>
                            <a:pt x="4" y="23"/>
                          </a:lnTo>
                          <a:lnTo>
                            <a:pt x="4" y="23"/>
                          </a:lnTo>
                          <a:lnTo>
                            <a:pt x="14" y="28"/>
                          </a:lnTo>
                          <a:lnTo>
                            <a:pt x="14" y="28"/>
                          </a:lnTo>
                          <a:lnTo>
                            <a:pt x="19" y="33"/>
                          </a:lnTo>
                          <a:lnTo>
                            <a:pt x="19" y="33"/>
                          </a:lnTo>
                          <a:lnTo>
                            <a:pt x="28" y="37"/>
                          </a:lnTo>
                          <a:lnTo>
                            <a:pt x="28" y="37"/>
                          </a:lnTo>
                          <a:lnTo>
                            <a:pt x="28" y="37"/>
                          </a:lnTo>
                          <a:lnTo>
                            <a:pt x="28" y="37"/>
                          </a:lnTo>
                          <a:lnTo>
                            <a:pt x="26" y="37"/>
                          </a:lnTo>
                          <a:lnTo>
                            <a:pt x="26" y="37"/>
                          </a:lnTo>
                          <a:lnTo>
                            <a:pt x="35" y="45"/>
                          </a:lnTo>
                          <a:lnTo>
                            <a:pt x="35" y="45"/>
                          </a:lnTo>
                          <a:lnTo>
                            <a:pt x="38" y="45"/>
                          </a:lnTo>
                          <a:lnTo>
                            <a:pt x="38" y="45"/>
                          </a:lnTo>
                          <a:lnTo>
                            <a:pt x="42" y="42"/>
                          </a:lnTo>
                          <a:lnTo>
                            <a:pt x="42" y="42"/>
                          </a:lnTo>
                          <a:lnTo>
                            <a:pt x="52" y="35"/>
                          </a:lnTo>
                          <a:lnTo>
                            <a:pt x="52" y="35"/>
                          </a:lnTo>
                          <a:lnTo>
                            <a:pt x="56" y="26"/>
                          </a:lnTo>
                          <a:lnTo>
                            <a:pt x="56" y="26"/>
                          </a:lnTo>
                          <a:lnTo>
                            <a:pt x="56" y="21"/>
                          </a:lnTo>
                          <a:lnTo>
                            <a:pt x="56" y="21"/>
                          </a:lnTo>
                          <a:lnTo>
                            <a:pt x="56" y="21"/>
                          </a:lnTo>
                          <a:lnTo>
                            <a:pt x="56" y="21"/>
                          </a:lnTo>
                          <a:lnTo>
                            <a:pt x="56" y="16"/>
                          </a:lnTo>
                          <a:lnTo>
                            <a:pt x="56" y="16"/>
                          </a:lnTo>
                          <a:lnTo>
                            <a:pt x="56" y="4"/>
                          </a:lnTo>
                          <a:lnTo>
                            <a:pt x="56" y="4"/>
                          </a:lnTo>
                          <a:lnTo>
                            <a:pt x="59" y="0"/>
                          </a:lnTo>
                          <a:lnTo>
                            <a:pt x="59" y="0"/>
                          </a:lnTo>
                          <a:lnTo>
                            <a:pt x="61" y="0"/>
                          </a:lnTo>
                          <a:lnTo>
                            <a:pt x="61" y="0"/>
                          </a:lnTo>
                          <a:lnTo>
                            <a:pt x="61" y="2"/>
                          </a:lnTo>
                          <a:lnTo>
                            <a:pt x="61" y="2"/>
                          </a:lnTo>
                          <a:lnTo>
                            <a:pt x="64" y="7"/>
                          </a:lnTo>
                          <a:lnTo>
                            <a:pt x="64" y="7"/>
                          </a:lnTo>
                          <a:lnTo>
                            <a:pt x="64" y="9"/>
                          </a:lnTo>
                          <a:lnTo>
                            <a:pt x="64" y="9"/>
                          </a:lnTo>
                          <a:lnTo>
                            <a:pt x="66" y="11"/>
                          </a:lnTo>
                          <a:lnTo>
                            <a:pt x="66" y="11"/>
                          </a:lnTo>
                          <a:lnTo>
                            <a:pt x="66" y="11"/>
                          </a:lnTo>
                          <a:lnTo>
                            <a:pt x="66" y="11"/>
                          </a:lnTo>
                          <a:lnTo>
                            <a:pt x="66" y="9"/>
                          </a:lnTo>
                          <a:lnTo>
                            <a:pt x="66" y="9"/>
                          </a:lnTo>
                          <a:lnTo>
                            <a:pt x="68" y="4"/>
                          </a:lnTo>
                          <a:lnTo>
                            <a:pt x="68" y="4"/>
                          </a:lnTo>
                          <a:lnTo>
                            <a:pt x="75" y="4"/>
                          </a:lnTo>
                          <a:lnTo>
                            <a:pt x="75" y="4"/>
                          </a:lnTo>
                          <a:lnTo>
                            <a:pt x="75" y="7"/>
                          </a:lnTo>
                          <a:lnTo>
                            <a:pt x="75" y="7"/>
                          </a:lnTo>
                          <a:lnTo>
                            <a:pt x="75" y="9"/>
                          </a:lnTo>
                          <a:lnTo>
                            <a:pt x="75" y="9"/>
                          </a:lnTo>
                          <a:lnTo>
                            <a:pt x="73" y="7"/>
                          </a:lnTo>
                          <a:lnTo>
                            <a:pt x="73" y="7"/>
                          </a:lnTo>
                          <a:lnTo>
                            <a:pt x="71" y="9"/>
                          </a:lnTo>
                          <a:lnTo>
                            <a:pt x="71" y="9"/>
                          </a:lnTo>
                          <a:lnTo>
                            <a:pt x="68" y="9"/>
                          </a:lnTo>
                          <a:lnTo>
                            <a:pt x="68" y="9"/>
                          </a:lnTo>
                          <a:lnTo>
                            <a:pt x="68" y="11"/>
                          </a:lnTo>
                          <a:lnTo>
                            <a:pt x="68" y="11"/>
                          </a:lnTo>
                          <a:lnTo>
                            <a:pt x="90" y="21"/>
                          </a:lnTo>
                          <a:lnTo>
                            <a:pt x="90" y="21"/>
                          </a:lnTo>
                          <a:lnTo>
                            <a:pt x="92" y="21"/>
                          </a:lnTo>
                          <a:lnTo>
                            <a:pt x="92" y="21"/>
                          </a:lnTo>
                          <a:lnTo>
                            <a:pt x="101" y="21"/>
                          </a:lnTo>
                          <a:lnTo>
                            <a:pt x="101" y="21"/>
                          </a:lnTo>
                          <a:lnTo>
                            <a:pt x="104" y="16"/>
                          </a:lnTo>
                          <a:lnTo>
                            <a:pt x="104" y="16"/>
                          </a:lnTo>
                          <a:lnTo>
                            <a:pt x="111" y="19"/>
                          </a:lnTo>
                          <a:lnTo>
                            <a:pt x="111" y="19"/>
                          </a:lnTo>
                          <a:lnTo>
                            <a:pt x="113" y="19"/>
                          </a:lnTo>
                          <a:lnTo>
                            <a:pt x="113" y="19"/>
                          </a:lnTo>
                          <a:lnTo>
                            <a:pt x="118" y="16"/>
                          </a:lnTo>
                          <a:lnTo>
                            <a:pt x="118" y="16"/>
                          </a:lnTo>
                          <a:lnTo>
                            <a:pt x="120" y="16"/>
                          </a:lnTo>
                          <a:lnTo>
                            <a:pt x="120" y="16"/>
                          </a:lnTo>
                          <a:lnTo>
                            <a:pt x="123" y="16"/>
                          </a:lnTo>
                          <a:lnTo>
                            <a:pt x="123" y="16"/>
                          </a:lnTo>
                          <a:lnTo>
                            <a:pt x="123" y="16"/>
                          </a:lnTo>
                          <a:lnTo>
                            <a:pt x="123" y="16"/>
                          </a:lnTo>
                          <a:lnTo>
                            <a:pt x="137" y="14"/>
                          </a:lnTo>
                          <a:lnTo>
                            <a:pt x="137" y="14"/>
                          </a:lnTo>
                          <a:lnTo>
                            <a:pt x="141" y="14"/>
                          </a:lnTo>
                          <a:lnTo>
                            <a:pt x="141" y="14"/>
                          </a:lnTo>
                          <a:lnTo>
                            <a:pt x="144" y="14"/>
                          </a:lnTo>
                          <a:lnTo>
                            <a:pt x="144" y="14"/>
                          </a:lnTo>
                          <a:lnTo>
                            <a:pt x="146" y="14"/>
                          </a:lnTo>
                          <a:lnTo>
                            <a:pt x="146" y="14"/>
                          </a:lnTo>
                          <a:lnTo>
                            <a:pt x="146" y="14"/>
                          </a:lnTo>
                          <a:lnTo>
                            <a:pt x="146" y="14"/>
                          </a:lnTo>
                          <a:lnTo>
                            <a:pt x="151" y="11"/>
                          </a:lnTo>
                          <a:lnTo>
                            <a:pt x="151" y="11"/>
                          </a:lnTo>
                          <a:lnTo>
                            <a:pt x="156" y="9"/>
                          </a:lnTo>
                          <a:lnTo>
                            <a:pt x="156" y="9"/>
                          </a:lnTo>
                          <a:lnTo>
                            <a:pt x="158" y="9"/>
                          </a:lnTo>
                          <a:lnTo>
                            <a:pt x="158" y="9"/>
                          </a:lnTo>
                          <a:lnTo>
                            <a:pt x="158" y="9"/>
                          </a:lnTo>
                          <a:lnTo>
                            <a:pt x="158" y="9"/>
                          </a:lnTo>
                          <a:lnTo>
                            <a:pt x="156" y="11"/>
                          </a:lnTo>
                          <a:lnTo>
                            <a:pt x="156" y="11"/>
                          </a:lnTo>
                          <a:lnTo>
                            <a:pt x="156" y="14"/>
                          </a:lnTo>
                          <a:lnTo>
                            <a:pt x="156" y="14"/>
                          </a:lnTo>
                          <a:lnTo>
                            <a:pt x="156" y="16"/>
                          </a:lnTo>
                          <a:lnTo>
                            <a:pt x="156" y="16"/>
                          </a:lnTo>
                          <a:lnTo>
                            <a:pt x="158" y="21"/>
                          </a:lnTo>
                          <a:lnTo>
                            <a:pt x="158" y="21"/>
                          </a:lnTo>
                          <a:lnTo>
                            <a:pt x="158" y="23"/>
                          </a:lnTo>
                          <a:lnTo>
                            <a:pt x="158" y="23"/>
                          </a:lnTo>
                          <a:lnTo>
                            <a:pt x="160" y="26"/>
                          </a:lnTo>
                          <a:lnTo>
                            <a:pt x="160" y="26"/>
                          </a:lnTo>
                          <a:lnTo>
                            <a:pt x="163" y="26"/>
                          </a:lnTo>
                          <a:lnTo>
                            <a:pt x="163" y="26"/>
                          </a:lnTo>
                          <a:lnTo>
                            <a:pt x="167" y="42"/>
                          </a:lnTo>
                          <a:lnTo>
                            <a:pt x="167" y="42"/>
                          </a:lnTo>
                          <a:lnTo>
                            <a:pt x="170" y="45"/>
                          </a:lnTo>
                          <a:lnTo>
                            <a:pt x="170" y="45"/>
                          </a:lnTo>
                          <a:lnTo>
                            <a:pt x="170" y="49"/>
                          </a:lnTo>
                          <a:lnTo>
                            <a:pt x="170" y="49"/>
                          </a:lnTo>
                          <a:lnTo>
                            <a:pt x="167" y="52"/>
                          </a:lnTo>
                          <a:lnTo>
                            <a:pt x="167" y="52"/>
                          </a:lnTo>
                          <a:lnTo>
                            <a:pt x="167" y="52"/>
                          </a:lnTo>
                          <a:lnTo>
                            <a:pt x="167" y="52"/>
                          </a:lnTo>
                          <a:lnTo>
                            <a:pt x="165" y="52"/>
                          </a:lnTo>
                          <a:lnTo>
                            <a:pt x="165" y="52"/>
                          </a:lnTo>
                          <a:lnTo>
                            <a:pt x="163" y="49"/>
                          </a:lnTo>
                          <a:lnTo>
                            <a:pt x="163" y="49"/>
                          </a:lnTo>
                          <a:lnTo>
                            <a:pt x="163" y="47"/>
                          </a:lnTo>
                          <a:lnTo>
                            <a:pt x="163" y="47"/>
                          </a:lnTo>
                          <a:lnTo>
                            <a:pt x="158" y="37"/>
                          </a:lnTo>
                          <a:lnTo>
                            <a:pt x="158" y="37"/>
                          </a:lnTo>
                          <a:lnTo>
                            <a:pt x="153" y="30"/>
                          </a:lnTo>
                          <a:lnTo>
                            <a:pt x="153" y="30"/>
                          </a:lnTo>
                          <a:lnTo>
                            <a:pt x="146" y="28"/>
                          </a:lnTo>
                          <a:lnTo>
                            <a:pt x="146" y="28"/>
                          </a:lnTo>
                          <a:lnTo>
                            <a:pt x="141" y="28"/>
                          </a:lnTo>
                          <a:lnTo>
                            <a:pt x="141" y="28"/>
                          </a:lnTo>
                          <a:lnTo>
                            <a:pt x="125" y="30"/>
                          </a:lnTo>
                          <a:lnTo>
                            <a:pt x="125" y="30"/>
                          </a:lnTo>
                          <a:lnTo>
                            <a:pt x="108" y="35"/>
                          </a:lnTo>
                          <a:lnTo>
                            <a:pt x="108" y="35"/>
                          </a:lnTo>
                          <a:lnTo>
                            <a:pt x="106" y="35"/>
                          </a:lnTo>
                          <a:lnTo>
                            <a:pt x="106" y="35"/>
                          </a:lnTo>
                          <a:lnTo>
                            <a:pt x="104" y="33"/>
                          </a:lnTo>
                          <a:lnTo>
                            <a:pt x="104" y="33"/>
                          </a:lnTo>
                          <a:lnTo>
                            <a:pt x="101" y="35"/>
                          </a:lnTo>
                          <a:lnTo>
                            <a:pt x="101" y="35"/>
                          </a:lnTo>
                          <a:lnTo>
                            <a:pt x="99" y="35"/>
                          </a:lnTo>
                          <a:lnTo>
                            <a:pt x="99" y="35"/>
                          </a:lnTo>
                          <a:lnTo>
                            <a:pt x="92" y="37"/>
                          </a:lnTo>
                          <a:lnTo>
                            <a:pt x="92" y="37"/>
                          </a:lnTo>
                          <a:lnTo>
                            <a:pt x="87" y="37"/>
                          </a:lnTo>
                          <a:lnTo>
                            <a:pt x="87" y="37"/>
                          </a:lnTo>
                          <a:lnTo>
                            <a:pt x="80" y="40"/>
                          </a:lnTo>
                          <a:lnTo>
                            <a:pt x="80" y="40"/>
                          </a:lnTo>
                          <a:lnTo>
                            <a:pt x="75" y="42"/>
                          </a:lnTo>
                          <a:lnTo>
                            <a:pt x="75" y="42"/>
                          </a:lnTo>
                          <a:lnTo>
                            <a:pt x="59" y="49"/>
                          </a:lnTo>
                          <a:lnTo>
                            <a:pt x="59" y="49"/>
                          </a:lnTo>
                          <a:lnTo>
                            <a:pt x="47" y="56"/>
                          </a:lnTo>
                          <a:lnTo>
                            <a:pt x="47" y="56"/>
                          </a:lnTo>
                          <a:lnTo>
                            <a:pt x="42" y="59"/>
                          </a:lnTo>
                          <a:lnTo>
                            <a:pt x="42" y="59"/>
                          </a:lnTo>
                          <a:lnTo>
                            <a:pt x="42" y="59"/>
                          </a:lnTo>
                          <a:lnTo>
                            <a:pt x="42" y="59"/>
                          </a:lnTo>
                          <a:lnTo>
                            <a:pt x="38" y="59"/>
                          </a:lnTo>
                          <a:lnTo>
                            <a:pt x="38" y="59"/>
                          </a:lnTo>
                          <a:lnTo>
                            <a:pt x="38" y="59"/>
                          </a:lnTo>
                          <a:lnTo>
                            <a:pt x="38" y="59"/>
                          </a:lnTo>
                          <a:close/>
                        </a:path>
                      </a:pathLst>
                    </a:custGeom>
                    <a:solidFill>
                      <a:srgbClr val="0070C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88" name="Freeform 1113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172" y="509"/>
                      <a:ext cx="24" cy="33"/>
                    </a:xfrm>
                    <a:custGeom>
                      <a:avLst/>
                      <a:gdLst/>
                      <a:ahLst/>
                      <a:cxnLst>
                        <a:cxn ang="0">
                          <a:pos x="2" y="29"/>
                        </a:cxn>
                        <a:cxn ang="0">
                          <a:pos x="0" y="26"/>
                        </a:cxn>
                        <a:cxn ang="0">
                          <a:pos x="0" y="26"/>
                        </a:cxn>
                        <a:cxn ang="0">
                          <a:pos x="2" y="24"/>
                        </a:cxn>
                        <a:cxn ang="0">
                          <a:pos x="2" y="24"/>
                        </a:cxn>
                        <a:cxn ang="0">
                          <a:pos x="2" y="24"/>
                        </a:cxn>
                        <a:cxn ang="0">
                          <a:pos x="2" y="24"/>
                        </a:cxn>
                        <a:cxn ang="0">
                          <a:pos x="2" y="24"/>
                        </a:cxn>
                        <a:cxn ang="0">
                          <a:pos x="2" y="24"/>
                        </a:cxn>
                        <a:cxn ang="0">
                          <a:pos x="5" y="22"/>
                        </a:cxn>
                        <a:cxn ang="0">
                          <a:pos x="5" y="22"/>
                        </a:cxn>
                        <a:cxn ang="0">
                          <a:pos x="5" y="17"/>
                        </a:cxn>
                        <a:cxn ang="0">
                          <a:pos x="5" y="17"/>
                        </a:cxn>
                        <a:cxn ang="0">
                          <a:pos x="5" y="12"/>
                        </a:cxn>
                        <a:cxn ang="0">
                          <a:pos x="5" y="12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21" y="3"/>
                        </a:cxn>
                        <a:cxn ang="0">
                          <a:pos x="21" y="3"/>
                        </a:cxn>
                        <a:cxn ang="0">
                          <a:pos x="21" y="3"/>
                        </a:cxn>
                        <a:cxn ang="0">
                          <a:pos x="21" y="3"/>
                        </a:cxn>
                        <a:cxn ang="0">
                          <a:pos x="19" y="5"/>
                        </a:cxn>
                        <a:cxn ang="0">
                          <a:pos x="19" y="5"/>
                        </a:cxn>
                        <a:cxn ang="0">
                          <a:pos x="19" y="5"/>
                        </a:cxn>
                        <a:cxn ang="0">
                          <a:pos x="19" y="5"/>
                        </a:cxn>
                        <a:cxn ang="0">
                          <a:pos x="14" y="12"/>
                        </a:cxn>
                        <a:cxn ang="0">
                          <a:pos x="14" y="12"/>
                        </a:cxn>
                        <a:cxn ang="0">
                          <a:pos x="14" y="12"/>
                        </a:cxn>
                        <a:cxn ang="0">
                          <a:pos x="14" y="12"/>
                        </a:cxn>
                        <a:cxn ang="0">
                          <a:pos x="12" y="7"/>
                        </a:cxn>
                        <a:cxn ang="0">
                          <a:pos x="12" y="7"/>
                        </a:cxn>
                        <a:cxn ang="0">
                          <a:pos x="12" y="5"/>
                        </a:cxn>
                        <a:cxn ang="0">
                          <a:pos x="12" y="5"/>
                        </a:cxn>
                        <a:cxn ang="0">
                          <a:pos x="12" y="3"/>
                        </a:cxn>
                        <a:cxn ang="0">
                          <a:pos x="12" y="3"/>
                        </a:cxn>
                        <a:cxn ang="0">
                          <a:pos x="10" y="3"/>
                        </a:cxn>
                        <a:cxn ang="0">
                          <a:pos x="10" y="3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10"/>
                        </a:cxn>
                        <a:cxn ang="0">
                          <a:pos x="7" y="10"/>
                        </a:cxn>
                        <a:cxn ang="0">
                          <a:pos x="7" y="12"/>
                        </a:cxn>
                        <a:cxn ang="0">
                          <a:pos x="7" y="12"/>
                        </a:cxn>
                        <a:cxn ang="0">
                          <a:pos x="10" y="12"/>
                        </a:cxn>
                        <a:cxn ang="0">
                          <a:pos x="10" y="12"/>
                        </a:cxn>
                        <a:cxn ang="0">
                          <a:pos x="10" y="14"/>
                        </a:cxn>
                        <a:cxn ang="0">
                          <a:pos x="10" y="14"/>
                        </a:cxn>
                        <a:cxn ang="0">
                          <a:pos x="10" y="14"/>
                        </a:cxn>
                        <a:cxn ang="0">
                          <a:pos x="10" y="14"/>
                        </a:cxn>
                        <a:cxn ang="0">
                          <a:pos x="10" y="17"/>
                        </a:cxn>
                        <a:cxn ang="0">
                          <a:pos x="10" y="17"/>
                        </a:cxn>
                        <a:cxn ang="0">
                          <a:pos x="2" y="29"/>
                        </a:cxn>
                        <a:cxn ang="0">
                          <a:pos x="2" y="29"/>
                        </a:cxn>
                        <a:cxn ang="0">
                          <a:pos x="2" y="29"/>
                        </a:cxn>
                        <a:cxn ang="0">
                          <a:pos x="2" y="29"/>
                        </a:cxn>
                        <a:cxn ang="0">
                          <a:pos x="2" y="29"/>
                        </a:cxn>
                        <a:cxn ang="0">
                          <a:pos x="2" y="29"/>
                        </a:cxn>
                      </a:cxnLst>
                      <a:rect l="0" t="0" r="r" b="b"/>
                      <a:pathLst>
                        <a:path w="21" h="29">
                          <a:moveTo>
                            <a:pt x="2" y="29"/>
                          </a:moveTo>
                          <a:lnTo>
                            <a:pt x="0" y="26"/>
                          </a:lnTo>
                          <a:lnTo>
                            <a:pt x="0" y="26"/>
                          </a:lnTo>
                          <a:lnTo>
                            <a:pt x="2" y="24"/>
                          </a:lnTo>
                          <a:lnTo>
                            <a:pt x="2" y="24"/>
                          </a:lnTo>
                          <a:lnTo>
                            <a:pt x="2" y="24"/>
                          </a:lnTo>
                          <a:lnTo>
                            <a:pt x="2" y="24"/>
                          </a:lnTo>
                          <a:lnTo>
                            <a:pt x="2" y="24"/>
                          </a:lnTo>
                          <a:lnTo>
                            <a:pt x="2" y="24"/>
                          </a:lnTo>
                          <a:lnTo>
                            <a:pt x="5" y="22"/>
                          </a:lnTo>
                          <a:lnTo>
                            <a:pt x="5" y="22"/>
                          </a:lnTo>
                          <a:lnTo>
                            <a:pt x="5" y="17"/>
                          </a:lnTo>
                          <a:lnTo>
                            <a:pt x="5" y="17"/>
                          </a:lnTo>
                          <a:lnTo>
                            <a:pt x="5" y="12"/>
                          </a:lnTo>
                          <a:lnTo>
                            <a:pt x="5" y="12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21" y="3"/>
                          </a:lnTo>
                          <a:lnTo>
                            <a:pt x="21" y="3"/>
                          </a:lnTo>
                          <a:lnTo>
                            <a:pt x="21" y="3"/>
                          </a:lnTo>
                          <a:lnTo>
                            <a:pt x="21" y="3"/>
                          </a:lnTo>
                          <a:lnTo>
                            <a:pt x="19" y="5"/>
                          </a:lnTo>
                          <a:lnTo>
                            <a:pt x="19" y="5"/>
                          </a:lnTo>
                          <a:lnTo>
                            <a:pt x="19" y="5"/>
                          </a:lnTo>
                          <a:lnTo>
                            <a:pt x="19" y="5"/>
                          </a:lnTo>
                          <a:lnTo>
                            <a:pt x="14" y="12"/>
                          </a:lnTo>
                          <a:lnTo>
                            <a:pt x="14" y="12"/>
                          </a:lnTo>
                          <a:lnTo>
                            <a:pt x="14" y="12"/>
                          </a:lnTo>
                          <a:lnTo>
                            <a:pt x="14" y="12"/>
                          </a:lnTo>
                          <a:lnTo>
                            <a:pt x="12" y="7"/>
                          </a:lnTo>
                          <a:lnTo>
                            <a:pt x="12" y="7"/>
                          </a:lnTo>
                          <a:lnTo>
                            <a:pt x="12" y="5"/>
                          </a:lnTo>
                          <a:lnTo>
                            <a:pt x="12" y="5"/>
                          </a:lnTo>
                          <a:lnTo>
                            <a:pt x="12" y="3"/>
                          </a:lnTo>
                          <a:lnTo>
                            <a:pt x="12" y="3"/>
                          </a:lnTo>
                          <a:lnTo>
                            <a:pt x="10" y="3"/>
                          </a:lnTo>
                          <a:lnTo>
                            <a:pt x="10" y="3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10"/>
                          </a:lnTo>
                          <a:lnTo>
                            <a:pt x="7" y="10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10" y="12"/>
                          </a:lnTo>
                          <a:lnTo>
                            <a:pt x="10" y="12"/>
                          </a:lnTo>
                          <a:lnTo>
                            <a:pt x="10" y="14"/>
                          </a:lnTo>
                          <a:lnTo>
                            <a:pt x="10" y="14"/>
                          </a:lnTo>
                          <a:lnTo>
                            <a:pt x="10" y="14"/>
                          </a:lnTo>
                          <a:lnTo>
                            <a:pt x="10" y="14"/>
                          </a:lnTo>
                          <a:lnTo>
                            <a:pt x="10" y="17"/>
                          </a:lnTo>
                          <a:lnTo>
                            <a:pt x="10" y="17"/>
                          </a:lnTo>
                          <a:lnTo>
                            <a:pt x="2" y="29"/>
                          </a:lnTo>
                          <a:lnTo>
                            <a:pt x="2" y="29"/>
                          </a:lnTo>
                          <a:lnTo>
                            <a:pt x="2" y="29"/>
                          </a:lnTo>
                          <a:lnTo>
                            <a:pt x="2" y="29"/>
                          </a:lnTo>
                          <a:lnTo>
                            <a:pt x="2" y="29"/>
                          </a:lnTo>
                          <a:lnTo>
                            <a:pt x="2" y="29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lumMod val="75000"/>
                      </a:schemeClr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89" name="Freeform 1114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178" y="539"/>
                      <a:ext cx="7" cy="16"/>
                    </a:xfrm>
                    <a:custGeom>
                      <a:avLst/>
                      <a:gdLst/>
                      <a:ahLst/>
                      <a:cxnLst>
                        <a:cxn ang="0">
                          <a:pos x="5" y="14"/>
                        </a:cxn>
                        <a:cxn ang="0">
                          <a:pos x="2" y="12"/>
                        </a:cxn>
                        <a:cxn ang="0">
                          <a:pos x="2" y="12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5" y="3"/>
                        </a:cxn>
                        <a:cxn ang="0">
                          <a:pos x="5" y="3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5" y="14"/>
                        </a:cxn>
                        <a:cxn ang="0">
                          <a:pos x="5" y="14"/>
                        </a:cxn>
                        <a:cxn ang="0">
                          <a:pos x="5" y="14"/>
                        </a:cxn>
                        <a:cxn ang="0">
                          <a:pos x="5" y="14"/>
                        </a:cxn>
                        <a:cxn ang="0">
                          <a:pos x="5" y="14"/>
                        </a:cxn>
                        <a:cxn ang="0">
                          <a:pos x="5" y="14"/>
                        </a:cxn>
                      </a:cxnLst>
                      <a:rect l="0" t="0" r="r" b="b"/>
                      <a:pathLst>
                        <a:path w="7" h="14">
                          <a:moveTo>
                            <a:pt x="5" y="14"/>
                          </a:moveTo>
                          <a:lnTo>
                            <a:pt x="2" y="12"/>
                          </a:lnTo>
                          <a:lnTo>
                            <a:pt x="2" y="12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5" y="3"/>
                          </a:lnTo>
                          <a:lnTo>
                            <a:pt x="5" y="3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5" y="14"/>
                          </a:lnTo>
                          <a:lnTo>
                            <a:pt x="5" y="14"/>
                          </a:lnTo>
                          <a:lnTo>
                            <a:pt x="5" y="14"/>
                          </a:lnTo>
                          <a:lnTo>
                            <a:pt x="5" y="14"/>
                          </a:lnTo>
                          <a:lnTo>
                            <a:pt x="5" y="14"/>
                          </a:lnTo>
                          <a:lnTo>
                            <a:pt x="5" y="14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90" name="Freeform 1115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170" y="550"/>
                      <a:ext cx="4" cy="8"/>
                    </a:xfrm>
                    <a:custGeom>
                      <a:avLst/>
                      <a:gdLst/>
                      <a:ahLst/>
                      <a:cxnLst>
                        <a:cxn ang="0">
                          <a:pos x="4" y="7"/>
                        </a:cxn>
                        <a:cxn ang="0">
                          <a:pos x="4" y="7"/>
                        </a:cxn>
                        <a:cxn ang="0">
                          <a:pos x="4" y="7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4" y="0"/>
                        </a:cxn>
                        <a:cxn ang="0">
                          <a:pos x="4" y="0"/>
                        </a:cxn>
                        <a:cxn ang="0">
                          <a:pos x="4" y="2"/>
                        </a:cxn>
                        <a:cxn ang="0">
                          <a:pos x="4" y="2"/>
                        </a:cxn>
                        <a:cxn ang="0">
                          <a:pos x="4" y="4"/>
                        </a:cxn>
                        <a:cxn ang="0">
                          <a:pos x="4" y="4"/>
                        </a:cxn>
                        <a:cxn ang="0">
                          <a:pos x="4" y="7"/>
                        </a:cxn>
                        <a:cxn ang="0">
                          <a:pos x="4" y="7"/>
                        </a:cxn>
                        <a:cxn ang="0">
                          <a:pos x="4" y="7"/>
                        </a:cxn>
                        <a:cxn ang="0">
                          <a:pos x="4" y="7"/>
                        </a:cxn>
                      </a:cxnLst>
                      <a:rect l="0" t="0" r="r" b="b"/>
                      <a:pathLst>
                        <a:path w="4" h="7">
                          <a:moveTo>
                            <a:pt x="4" y="7"/>
                          </a:moveTo>
                          <a:lnTo>
                            <a:pt x="4" y="7"/>
                          </a:lnTo>
                          <a:lnTo>
                            <a:pt x="4" y="7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4" y="0"/>
                          </a:lnTo>
                          <a:lnTo>
                            <a:pt x="4" y="0"/>
                          </a:lnTo>
                          <a:lnTo>
                            <a:pt x="4" y="2"/>
                          </a:lnTo>
                          <a:lnTo>
                            <a:pt x="4" y="2"/>
                          </a:lnTo>
                          <a:lnTo>
                            <a:pt x="4" y="4"/>
                          </a:lnTo>
                          <a:lnTo>
                            <a:pt x="4" y="4"/>
                          </a:lnTo>
                          <a:lnTo>
                            <a:pt x="4" y="7"/>
                          </a:lnTo>
                          <a:lnTo>
                            <a:pt x="4" y="7"/>
                          </a:lnTo>
                          <a:lnTo>
                            <a:pt x="4" y="7"/>
                          </a:lnTo>
                          <a:lnTo>
                            <a:pt x="4" y="7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91" name="Freeform 1116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126" y="553"/>
                      <a:ext cx="8" cy="19"/>
                    </a:xfrm>
                    <a:custGeom>
                      <a:avLst/>
                      <a:gdLst/>
                      <a:ahLst/>
                      <a:cxnLst>
                        <a:cxn ang="0">
                          <a:pos x="2" y="17"/>
                        </a:cxn>
                        <a:cxn ang="0">
                          <a:pos x="2" y="17"/>
                        </a:cxn>
                        <a:cxn ang="0">
                          <a:pos x="2" y="17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5" y="12"/>
                        </a:cxn>
                        <a:cxn ang="0">
                          <a:pos x="5" y="12"/>
                        </a:cxn>
                        <a:cxn ang="0">
                          <a:pos x="2" y="14"/>
                        </a:cxn>
                        <a:cxn ang="0">
                          <a:pos x="2" y="14"/>
                        </a:cxn>
                        <a:cxn ang="0">
                          <a:pos x="2" y="17"/>
                        </a:cxn>
                        <a:cxn ang="0">
                          <a:pos x="2" y="17"/>
                        </a:cxn>
                        <a:cxn ang="0">
                          <a:pos x="2" y="17"/>
                        </a:cxn>
                        <a:cxn ang="0">
                          <a:pos x="2" y="17"/>
                        </a:cxn>
                        <a:cxn ang="0">
                          <a:pos x="2" y="17"/>
                        </a:cxn>
                        <a:cxn ang="0">
                          <a:pos x="2" y="17"/>
                        </a:cxn>
                      </a:cxnLst>
                      <a:rect l="0" t="0" r="r" b="b"/>
                      <a:pathLst>
                        <a:path w="7" h="17">
                          <a:moveTo>
                            <a:pt x="2" y="17"/>
                          </a:moveTo>
                          <a:lnTo>
                            <a:pt x="2" y="17"/>
                          </a:lnTo>
                          <a:lnTo>
                            <a:pt x="2" y="17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5" y="12"/>
                          </a:lnTo>
                          <a:lnTo>
                            <a:pt x="5" y="12"/>
                          </a:lnTo>
                          <a:lnTo>
                            <a:pt x="2" y="14"/>
                          </a:lnTo>
                          <a:lnTo>
                            <a:pt x="2" y="14"/>
                          </a:lnTo>
                          <a:lnTo>
                            <a:pt x="2" y="17"/>
                          </a:lnTo>
                          <a:lnTo>
                            <a:pt x="2" y="17"/>
                          </a:lnTo>
                          <a:lnTo>
                            <a:pt x="2" y="17"/>
                          </a:lnTo>
                          <a:lnTo>
                            <a:pt x="2" y="17"/>
                          </a:lnTo>
                          <a:lnTo>
                            <a:pt x="2" y="17"/>
                          </a:lnTo>
                          <a:lnTo>
                            <a:pt x="2" y="17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92" name="Freeform 1117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075" y="665"/>
                      <a:ext cx="14" cy="27"/>
                    </a:xfrm>
                    <a:custGeom>
                      <a:avLst/>
                      <a:gdLst/>
                      <a:ahLst/>
                      <a:cxnLst>
                        <a:cxn ang="0">
                          <a:pos x="12" y="24"/>
                        </a:cxn>
                        <a:cxn ang="0">
                          <a:pos x="9" y="22"/>
                        </a:cxn>
                        <a:cxn ang="0">
                          <a:pos x="9" y="22"/>
                        </a:cxn>
                        <a:cxn ang="0">
                          <a:pos x="9" y="22"/>
                        </a:cxn>
                        <a:cxn ang="0">
                          <a:pos x="9" y="22"/>
                        </a:cxn>
                        <a:cxn ang="0">
                          <a:pos x="7" y="19"/>
                        </a:cxn>
                        <a:cxn ang="0">
                          <a:pos x="7" y="19"/>
                        </a:cxn>
                        <a:cxn ang="0">
                          <a:pos x="5" y="17"/>
                        </a:cxn>
                        <a:cxn ang="0">
                          <a:pos x="5" y="17"/>
                        </a:cxn>
                        <a:cxn ang="0">
                          <a:pos x="5" y="12"/>
                        </a:cxn>
                        <a:cxn ang="0">
                          <a:pos x="5" y="12"/>
                        </a:cxn>
                        <a:cxn ang="0">
                          <a:pos x="2" y="10"/>
                        </a:cxn>
                        <a:cxn ang="0">
                          <a:pos x="2" y="10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2" y="3"/>
                        </a:cxn>
                        <a:cxn ang="0">
                          <a:pos x="2" y="3"/>
                        </a:cxn>
                        <a:cxn ang="0">
                          <a:pos x="2" y="5"/>
                        </a:cxn>
                        <a:cxn ang="0">
                          <a:pos x="2" y="5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7" y="12"/>
                        </a:cxn>
                        <a:cxn ang="0">
                          <a:pos x="7" y="12"/>
                        </a:cxn>
                        <a:cxn ang="0">
                          <a:pos x="7" y="12"/>
                        </a:cxn>
                        <a:cxn ang="0">
                          <a:pos x="7" y="12"/>
                        </a:cxn>
                        <a:cxn ang="0">
                          <a:pos x="9" y="14"/>
                        </a:cxn>
                        <a:cxn ang="0">
                          <a:pos x="9" y="14"/>
                        </a:cxn>
                        <a:cxn ang="0">
                          <a:pos x="9" y="14"/>
                        </a:cxn>
                        <a:cxn ang="0">
                          <a:pos x="9" y="14"/>
                        </a:cxn>
                        <a:cxn ang="0">
                          <a:pos x="9" y="14"/>
                        </a:cxn>
                        <a:cxn ang="0">
                          <a:pos x="9" y="14"/>
                        </a:cxn>
                        <a:cxn ang="0">
                          <a:pos x="9" y="14"/>
                        </a:cxn>
                        <a:cxn ang="0">
                          <a:pos x="9" y="14"/>
                        </a:cxn>
                        <a:cxn ang="0">
                          <a:pos x="9" y="14"/>
                        </a:cxn>
                        <a:cxn ang="0">
                          <a:pos x="9" y="14"/>
                        </a:cxn>
                        <a:cxn ang="0">
                          <a:pos x="9" y="14"/>
                        </a:cxn>
                        <a:cxn ang="0">
                          <a:pos x="9" y="14"/>
                        </a:cxn>
                        <a:cxn ang="0">
                          <a:pos x="12" y="14"/>
                        </a:cxn>
                        <a:cxn ang="0">
                          <a:pos x="12" y="14"/>
                        </a:cxn>
                        <a:cxn ang="0">
                          <a:pos x="12" y="14"/>
                        </a:cxn>
                        <a:cxn ang="0">
                          <a:pos x="12" y="14"/>
                        </a:cxn>
                        <a:cxn ang="0">
                          <a:pos x="12" y="22"/>
                        </a:cxn>
                        <a:cxn ang="0">
                          <a:pos x="12" y="22"/>
                        </a:cxn>
                        <a:cxn ang="0">
                          <a:pos x="12" y="22"/>
                        </a:cxn>
                        <a:cxn ang="0">
                          <a:pos x="12" y="22"/>
                        </a:cxn>
                        <a:cxn ang="0">
                          <a:pos x="12" y="24"/>
                        </a:cxn>
                        <a:cxn ang="0">
                          <a:pos x="12" y="24"/>
                        </a:cxn>
                        <a:cxn ang="0">
                          <a:pos x="12" y="24"/>
                        </a:cxn>
                        <a:cxn ang="0">
                          <a:pos x="12" y="24"/>
                        </a:cxn>
                      </a:cxnLst>
                      <a:rect l="0" t="0" r="r" b="b"/>
                      <a:pathLst>
                        <a:path w="12" h="24">
                          <a:moveTo>
                            <a:pt x="12" y="24"/>
                          </a:moveTo>
                          <a:lnTo>
                            <a:pt x="9" y="22"/>
                          </a:lnTo>
                          <a:lnTo>
                            <a:pt x="9" y="22"/>
                          </a:lnTo>
                          <a:lnTo>
                            <a:pt x="9" y="22"/>
                          </a:lnTo>
                          <a:lnTo>
                            <a:pt x="9" y="22"/>
                          </a:lnTo>
                          <a:lnTo>
                            <a:pt x="7" y="19"/>
                          </a:lnTo>
                          <a:lnTo>
                            <a:pt x="7" y="19"/>
                          </a:lnTo>
                          <a:lnTo>
                            <a:pt x="5" y="17"/>
                          </a:lnTo>
                          <a:lnTo>
                            <a:pt x="5" y="17"/>
                          </a:lnTo>
                          <a:lnTo>
                            <a:pt x="5" y="12"/>
                          </a:lnTo>
                          <a:lnTo>
                            <a:pt x="5" y="12"/>
                          </a:lnTo>
                          <a:lnTo>
                            <a:pt x="2" y="10"/>
                          </a:lnTo>
                          <a:lnTo>
                            <a:pt x="2" y="10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3"/>
                          </a:lnTo>
                          <a:lnTo>
                            <a:pt x="2" y="3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9" y="14"/>
                          </a:lnTo>
                          <a:lnTo>
                            <a:pt x="9" y="14"/>
                          </a:lnTo>
                          <a:lnTo>
                            <a:pt x="9" y="14"/>
                          </a:lnTo>
                          <a:lnTo>
                            <a:pt x="9" y="14"/>
                          </a:lnTo>
                          <a:lnTo>
                            <a:pt x="9" y="14"/>
                          </a:lnTo>
                          <a:lnTo>
                            <a:pt x="9" y="14"/>
                          </a:lnTo>
                          <a:lnTo>
                            <a:pt x="9" y="14"/>
                          </a:lnTo>
                          <a:lnTo>
                            <a:pt x="9" y="14"/>
                          </a:lnTo>
                          <a:lnTo>
                            <a:pt x="9" y="14"/>
                          </a:lnTo>
                          <a:lnTo>
                            <a:pt x="9" y="14"/>
                          </a:lnTo>
                          <a:lnTo>
                            <a:pt x="9" y="14"/>
                          </a:lnTo>
                          <a:lnTo>
                            <a:pt x="9" y="14"/>
                          </a:lnTo>
                          <a:lnTo>
                            <a:pt x="12" y="14"/>
                          </a:lnTo>
                          <a:lnTo>
                            <a:pt x="12" y="14"/>
                          </a:lnTo>
                          <a:lnTo>
                            <a:pt x="12" y="14"/>
                          </a:lnTo>
                          <a:lnTo>
                            <a:pt x="12" y="14"/>
                          </a:lnTo>
                          <a:lnTo>
                            <a:pt x="12" y="22"/>
                          </a:lnTo>
                          <a:lnTo>
                            <a:pt x="12" y="22"/>
                          </a:lnTo>
                          <a:lnTo>
                            <a:pt x="12" y="22"/>
                          </a:lnTo>
                          <a:lnTo>
                            <a:pt x="12" y="22"/>
                          </a:lnTo>
                          <a:lnTo>
                            <a:pt x="12" y="24"/>
                          </a:lnTo>
                          <a:lnTo>
                            <a:pt x="12" y="24"/>
                          </a:lnTo>
                          <a:lnTo>
                            <a:pt x="12" y="24"/>
                          </a:lnTo>
                          <a:lnTo>
                            <a:pt x="12" y="24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93" name="Freeform 1118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844" y="671"/>
                      <a:ext cx="10" cy="21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7"/>
                        </a:cxn>
                        <a:cxn ang="0">
                          <a:pos x="0" y="12"/>
                        </a:cxn>
                        <a:cxn ang="0">
                          <a:pos x="0" y="9"/>
                        </a:cxn>
                        <a:cxn ang="0">
                          <a:pos x="2" y="5"/>
                        </a:cxn>
                        <a:cxn ang="0">
                          <a:pos x="5" y="5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9" y="7"/>
                        </a:cxn>
                        <a:cxn ang="0">
                          <a:pos x="9" y="9"/>
                        </a:cxn>
                        <a:cxn ang="0">
                          <a:pos x="7" y="12"/>
                        </a:cxn>
                        <a:cxn ang="0">
                          <a:pos x="5" y="9"/>
                        </a:cxn>
                        <a:cxn ang="0">
                          <a:pos x="5" y="9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2" y="9"/>
                        </a:cxn>
                        <a:cxn ang="0">
                          <a:pos x="0" y="12"/>
                        </a:cxn>
                        <a:cxn ang="0">
                          <a:pos x="0" y="12"/>
                        </a:cxn>
                        <a:cxn ang="0">
                          <a:pos x="0" y="12"/>
                        </a:cxn>
                        <a:cxn ang="0">
                          <a:pos x="0" y="14"/>
                        </a:cxn>
                        <a:cxn ang="0">
                          <a:pos x="0" y="14"/>
                        </a:cxn>
                        <a:cxn ang="0">
                          <a:pos x="0" y="14"/>
                        </a:cxn>
                        <a:cxn ang="0">
                          <a:pos x="2" y="14"/>
                        </a:cxn>
                        <a:cxn ang="0">
                          <a:pos x="2" y="14"/>
                        </a:cxn>
                        <a:cxn ang="0">
                          <a:pos x="2" y="14"/>
                        </a:cxn>
                        <a:cxn ang="0">
                          <a:pos x="5" y="17"/>
                        </a:cxn>
                        <a:cxn ang="0">
                          <a:pos x="7" y="17"/>
                        </a:cxn>
                        <a:cxn ang="0">
                          <a:pos x="7" y="19"/>
                        </a:cxn>
                        <a:cxn ang="0">
                          <a:pos x="7" y="19"/>
                        </a:cxn>
                        <a:cxn ang="0">
                          <a:pos x="7" y="19"/>
                        </a:cxn>
                        <a:cxn ang="0">
                          <a:pos x="5" y="17"/>
                        </a:cxn>
                        <a:cxn ang="0">
                          <a:pos x="5" y="17"/>
                        </a:cxn>
                        <a:cxn ang="0">
                          <a:pos x="2" y="17"/>
                        </a:cxn>
                        <a:cxn ang="0">
                          <a:pos x="0" y="17"/>
                        </a:cxn>
                        <a:cxn ang="0">
                          <a:pos x="0" y="17"/>
                        </a:cxn>
                        <a:cxn ang="0">
                          <a:pos x="0" y="19"/>
                        </a:cxn>
                        <a:cxn ang="0">
                          <a:pos x="0" y="19"/>
                        </a:cxn>
                      </a:cxnLst>
                      <a:rect l="0" t="0" r="r" b="b"/>
                      <a:pathLst>
                        <a:path w="9" h="19">
                          <a:moveTo>
                            <a:pt x="0" y="19"/>
                          </a:moveTo>
                          <a:lnTo>
                            <a:pt x="0" y="17"/>
                          </a:lnTo>
                          <a:lnTo>
                            <a:pt x="0" y="17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9"/>
                          </a:lnTo>
                          <a:lnTo>
                            <a:pt x="0" y="9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9" y="7"/>
                          </a:lnTo>
                          <a:lnTo>
                            <a:pt x="9" y="7"/>
                          </a:lnTo>
                          <a:lnTo>
                            <a:pt x="9" y="9"/>
                          </a:lnTo>
                          <a:lnTo>
                            <a:pt x="9" y="9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5" y="9"/>
                          </a:lnTo>
                          <a:lnTo>
                            <a:pt x="5" y="9"/>
                          </a:lnTo>
                          <a:lnTo>
                            <a:pt x="5" y="9"/>
                          </a:lnTo>
                          <a:lnTo>
                            <a:pt x="5" y="9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9"/>
                          </a:lnTo>
                          <a:lnTo>
                            <a:pt x="2" y="9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14"/>
                          </a:lnTo>
                          <a:lnTo>
                            <a:pt x="0" y="14"/>
                          </a:lnTo>
                          <a:lnTo>
                            <a:pt x="0" y="14"/>
                          </a:lnTo>
                          <a:lnTo>
                            <a:pt x="0" y="14"/>
                          </a:lnTo>
                          <a:lnTo>
                            <a:pt x="0" y="14"/>
                          </a:lnTo>
                          <a:lnTo>
                            <a:pt x="0" y="14"/>
                          </a:lnTo>
                          <a:lnTo>
                            <a:pt x="2" y="14"/>
                          </a:lnTo>
                          <a:lnTo>
                            <a:pt x="2" y="14"/>
                          </a:lnTo>
                          <a:lnTo>
                            <a:pt x="2" y="14"/>
                          </a:lnTo>
                          <a:lnTo>
                            <a:pt x="2" y="14"/>
                          </a:lnTo>
                          <a:lnTo>
                            <a:pt x="2" y="14"/>
                          </a:lnTo>
                          <a:lnTo>
                            <a:pt x="2" y="14"/>
                          </a:lnTo>
                          <a:lnTo>
                            <a:pt x="5" y="17"/>
                          </a:lnTo>
                          <a:lnTo>
                            <a:pt x="5" y="17"/>
                          </a:lnTo>
                          <a:lnTo>
                            <a:pt x="7" y="17"/>
                          </a:lnTo>
                          <a:lnTo>
                            <a:pt x="7" y="17"/>
                          </a:lnTo>
                          <a:lnTo>
                            <a:pt x="7" y="19"/>
                          </a:lnTo>
                          <a:lnTo>
                            <a:pt x="7" y="19"/>
                          </a:lnTo>
                          <a:lnTo>
                            <a:pt x="7" y="19"/>
                          </a:lnTo>
                          <a:lnTo>
                            <a:pt x="7" y="19"/>
                          </a:lnTo>
                          <a:lnTo>
                            <a:pt x="7" y="19"/>
                          </a:lnTo>
                          <a:lnTo>
                            <a:pt x="7" y="19"/>
                          </a:lnTo>
                          <a:lnTo>
                            <a:pt x="5" y="17"/>
                          </a:lnTo>
                          <a:lnTo>
                            <a:pt x="5" y="17"/>
                          </a:lnTo>
                          <a:lnTo>
                            <a:pt x="5" y="17"/>
                          </a:lnTo>
                          <a:lnTo>
                            <a:pt x="5" y="17"/>
                          </a:lnTo>
                          <a:lnTo>
                            <a:pt x="2" y="17"/>
                          </a:lnTo>
                          <a:lnTo>
                            <a:pt x="2" y="17"/>
                          </a:lnTo>
                          <a:lnTo>
                            <a:pt x="0" y="17"/>
                          </a:lnTo>
                          <a:lnTo>
                            <a:pt x="0" y="17"/>
                          </a:lnTo>
                          <a:lnTo>
                            <a:pt x="0" y="17"/>
                          </a:lnTo>
                          <a:lnTo>
                            <a:pt x="0" y="17"/>
                          </a:lnTo>
                          <a:lnTo>
                            <a:pt x="0" y="19"/>
                          </a:lnTo>
                          <a:lnTo>
                            <a:pt x="0" y="19"/>
                          </a:lnTo>
                          <a:lnTo>
                            <a:pt x="0" y="19"/>
                          </a:lnTo>
                          <a:lnTo>
                            <a:pt x="0" y="19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94" name="Freeform 1119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247" y="720"/>
                      <a:ext cx="122" cy="201"/>
                    </a:xfrm>
                    <a:custGeom>
                      <a:avLst/>
                      <a:gdLst/>
                      <a:ahLst/>
                      <a:cxnLst>
                        <a:cxn ang="0">
                          <a:pos x="92" y="167"/>
                        </a:cxn>
                        <a:cxn ang="0">
                          <a:pos x="83" y="148"/>
                        </a:cxn>
                        <a:cxn ang="0">
                          <a:pos x="81" y="148"/>
                        </a:cxn>
                        <a:cxn ang="0">
                          <a:pos x="76" y="146"/>
                        </a:cxn>
                        <a:cxn ang="0">
                          <a:pos x="73" y="141"/>
                        </a:cxn>
                        <a:cxn ang="0">
                          <a:pos x="73" y="137"/>
                        </a:cxn>
                        <a:cxn ang="0">
                          <a:pos x="76" y="141"/>
                        </a:cxn>
                        <a:cxn ang="0">
                          <a:pos x="85" y="146"/>
                        </a:cxn>
                        <a:cxn ang="0">
                          <a:pos x="92" y="146"/>
                        </a:cxn>
                        <a:cxn ang="0">
                          <a:pos x="99" y="134"/>
                        </a:cxn>
                        <a:cxn ang="0">
                          <a:pos x="95" y="127"/>
                        </a:cxn>
                        <a:cxn ang="0">
                          <a:pos x="95" y="134"/>
                        </a:cxn>
                        <a:cxn ang="0">
                          <a:pos x="95" y="137"/>
                        </a:cxn>
                        <a:cxn ang="0">
                          <a:pos x="90" y="129"/>
                        </a:cxn>
                        <a:cxn ang="0">
                          <a:pos x="92" y="115"/>
                        </a:cxn>
                        <a:cxn ang="0">
                          <a:pos x="102" y="106"/>
                        </a:cxn>
                        <a:cxn ang="0">
                          <a:pos x="102" y="101"/>
                        </a:cxn>
                        <a:cxn ang="0">
                          <a:pos x="99" y="85"/>
                        </a:cxn>
                        <a:cxn ang="0">
                          <a:pos x="90" y="75"/>
                        </a:cxn>
                        <a:cxn ang="0">
                          <a:pos x="71" y="47"/>
                        </a:cxn>
                        <a:cxn ang="0">
                          <a:pos x="62" y="44"/>
                        </a:cxn>
                        <a:cxn ang="0">
                          <a:pos x="36" y="28"/>
                        </a:cxn>
                        <a:cxn ang="0">
                          <a:pos x="33" y="23"/>
                        </a:cxn>
                        <a:cxn ang="0">
                          <a:pos x="26" y="23"/>
                        </a:cxn>
                        <a:cxn ang="0">
                          <a:pos x="21" y="23"/>
                        </a:cxn>
                        <a:cxn ang="0">
                          <a:pos x="12" y="26"/>
                        </a:cxn>
                        <a:cxn ang="0">
                          <a:pos x="10" y="30"/>
                        </a:cxn>
                        <a:cxn ang="0">
                          <a:pos x="0" y="47"/>
                        </a:cxn>
                        <a:cxn ang="0">
                          <a:pos x="0" y="42"/>
                        </a:cxn>
                        <a:cxn ang="0">
                          <a:pos x="17" y="7"/>
                        </a:cxn>
                        <a:cxn ang="0">
                          <a:pos x="17" y="4"/>
                        </a:cxn>
                        <a:cxn ang="0">
                          <a:pos x="19" y="0"/>
                        </a:cxn>
                        <a:cxn ang="0">
                          <a:pos x="24" y="2"/>
                        </a:cxn>
                        <a:cxn ang="0">
                          <a:pos x="24" y="2"/>
                        </a:cxn>
                        <a:cxn ang="0">
                          <a:pos x="21" y="4"/>
                        </a:cxn>
                        <a:cxn ang="0">
                          <a:pos x="21" y="11"/>
                        </a:cxn>
                        <a:cxn ang="0">
                          <a:pos x="24" y="11"/>
                        </a:cxn>
                        <a:cxn ang="0">
                          <a:pos x="47" y="35"/>
                        </a:cxn>
                        <a:cxn ang="0">
                          <a:pos x="62" y="42"/>
                        </a:cxn>
                        <a:cxn ang="0">
                          <a:pos x="69" y="42"/>
                        </a:cxn>
                        <a:cxn ang="0">
                          <a:pos x="69" y="40"/>
                        </a:cxn>
                        <a:cxn ang="0">
                          <a:pos x="73" y="49"/>
                        </a:cxn>
                        <a:cxn ang="0">
                          <a:pos x="78" y="56"/>
                        </a:cxn>
                        <a:cxn ang="0">
                          <a:pos x="99" y="75"/>
                        </a:cxn>
                        <a:cxn ang="0">
                          <a:pos x="102" y="77"/>
                        </a:cxn>
                        <a:cxn ang="0">
                          <a:pos x="107" y="92"/>
                        </a:cxn>
                        <a:cxn ang="0">
                          <a:pos x="104" y="101"/>
                        </a:cxn>
                        <a:cxn ang="0">
                          <a:pos x="102" y="125"/>
                        </a:cxn>
                        <a:cxn ang="0">
                          <a:pos x="102" y="134"/>
                        </a:cxn>
                        <a:cxn ang="0">
                          <a:pos x="95" y="151"/>
                        </a:cxn>
                        <a:cxn ang="0">
                          <a:pos x="95" y="158"/>
                        </a:cxn>
                        <a:cxn ang="0">
                          <a:pos x="102" y="174"/>
                        </a:cxn>
                        <a:cxn ang="0">
                          <a:pos x="99" y="177"/>
                        </a:cxn>
                      </a:cxnLst>
                      <a:rect l="0" t="0" r="r" b="b"/>
                      <a:pathLst>
                        <a:path w="107" h="177">
                          <a:moveTo>
                            <a:pt x="99" y="177"/>
                          </a:moveTo>
                          <a:lnTo>
                            <a:pt x="97" y="174"/>
                          </a:lnTo>
                          <a:lnTo>
                            <a:pt x="97" y="174"/>
                          </a:lnTo>
                          <a:lnTo>
                            <a:pt x="92" y="167"/>
                          </a:lnTo>
                          <a:lnTo>
                            <a:pt x="92" y="167"/>
                          </a:lnTo>
                          <a:lnTo>
                            <a:pt x="90" y="158"/>
                          </a:lnTo>
                          <a:lnTo>
                            <a:pt x="90" y="158"/>
                          </a:lnTo>
                          <a:lnTo>
                            <a:pt x="85" y="151"/>
                          </a:lnTo>
                          <a:lnTo>
                            <a:pt x="85" y="151"/>
                          </a:lnTo>
                          <a:lnTo>
                            <a:pt x="83" y="148"/>
                          </a:lnTo>
                          <a:lnTo>
                            <a:pt x="83" y="148"/>
                          </a:lnTo>
                          <a:lnTo>
                            <a:pt x="81" y="148"/>
                          </a:lnTo>
                          <a:lnTo>
                            <a:pt x="81" y="148"/>
                          </a:lnTo>
                          <a:lnTo>
                            <a:pt x="81" y="148"/>
                          </a:lnTo>
                          <a:lnTo>
                            <a:pt x="81" y="148"/>
                          </a:lnTo>
                          <a:lnTo>
                            <a:pt x="78" y="148"/>
                          </a:lnTo>
                          <a:lnTo>
                            <a:pt x="78" y="148"/>
                          </a:lnTo>
                          <a:lnTo>
                            <a:pt x="76" y="148"/>
                          </a:lnTo>
                          <a:lnTo>
                            <a:pt x="76" y="148"/>
                          </a:lnTo>
                          <a:lnTo>
                            <a:pt x="76" y="146"/>
                          </a:lnTo>
                          <a:lnTo>
                            <a:pt x="76" y="146"/>
                          </a:lnTo>
                          <a:lnTo>
                            <a:pt x="73" y="144"/>
                          </a:lnTo>
                          <a:lnTo>
                            <a:pt x="73" y="144"/>
                          </a:lnTo>
                          <a:lnTo>
                            <a:pt x="73" y="141"/>
                          </a:lnTo>
                          <a:lnTo>
                            <a:pt x="73" y="141"/>
                          </a:lnTo>
                          <a:lnTo>
                            <a:pt x="73" y="139"/>
                          </a:lnTo>
                          <a:lnTo>
                            <a:pt x="73" y="139"/>
                          </a:lnTo>
                          <a:lnTo>
                            <a:pt x="73" y="137"/>
                          </a:lnTo>
                          <a:lnTo>
                            <a:pt x="73" y="137"/>
                          </a:lnTo>
                          <a:lnTo>
                            <a:pt x="73" y="137"/>
                          </a:lnTo>
                          <a:lnTo>
                            <a:pt x="73" y="137"/>
                          </a:lnTo>
                          <a:lnTo>
                            <a:pt x="76" y="139"/>
                          </a:lnTo>
                          <a:lnTo>
                            <a:pt x="76" y="139"/>
                          </a:lnTo>
                          <a:lnTo>
                            <a:pt x="76" y="141"/>
                          </a:lnTo>
                          <a:lnTo>
                            <a:pt x="76" y="141"/>
                          </a:lnTo>
                          <a:lnTo>
                            <a:pt x="78" y="144"/>
                          </a:lnTo>
                          <a:lnTo>
                            <a:pt x="78" y="144"/>
                          </a:lnTo>
                          <a:lnTo>
                            <a:pt x="78" y="144"/>
                          </a:lnTo>
                          <a:lnTo>
                            <a:pt x="78" y="144"/>
                          </a:lnTo>
                          <a:lnTo>
                            <a:pt x="85" y="146"/>
                          </a:lnTo>
                          <a:lnTo>
                            <a:pt x="85" y="146"/>
                          </a:lnTo>
                          <a:lnTo>
                            <a:pt x="90" y="146"/>
                          </a:lnTo>
                          <a:lnTo>
                            <a:pt x="90" y="146"/>
                          </a:lnTo>
                          <a:lnTo>
                            <a:pt x="92" y="146"/>
                          </a:lnTo>
                          <a:lnTo>
                            <a:pt x="92" y="146"/>
                          </a:lnTo>
                          <a:lnTo>
                            <a:pt x="99" y="137"/>
                          </a:lnTo>
                          <a:lnTo>
                            <a:pt x="99" y="137"/>
                          </a:lnTo>
                          <a:lnTo>
                            <a:pt x="99" y="137"/>
                          </a:lnTo>
                          <a:lnTo>
                            <a:pt x="99" y="137"/>
                          </a:lnTo>
                          <a:lnTo>
                            <a:pt x="99" y="134"/>
                          </a:lnTo>
                          <a:lnTo>
                            <a:pt x="99" y="134"/>
                          </a:lnTo>
                          <a:lnTo>
                            <a:pt x="97" y="129"/>
                          </a:lnTo>
                          <a:lnTo>
                            <a:pt x="97" y="129"/>
                          </a:lnTo>
                          <a:lnTo>
                            <a:pt x="95" y="127"/>
                          </a:lnTo>
                          <a:lnTo>
                            <a:pt x="95" y="127"/>
                          </a:lnTo>
                          <a:lnTo>
                            <a:pt x="95" y="127"/>
                          </a:lnTo>
                          <a:lnTo>
                            <a:pt x="95" y="127"/>
                          </a:lnTo>
                          <a:lnTo>
                            <a:pt x="95" y="129"/>
                          </a:lnTo>
                          <a:lnTo>
                            <a:pt x="95" y="129"/>
                          </a:lnTo>
                          <a:lnTo>
                            <a:pt x="95" y="134"/>
                          </a:lnTo>
                          <a:lnTo>
                            <a:pt x="95" y="134"/>
                          </a:lnTo>
                          <a:lnTo>
                            <a:pt x="95" y="134"/>
                          </a:lnTo>
                          <a:lnTo>
                            <a:pt x="95" y="134"/>
                          </a:lnTo>
                          <a:lnTo>
                            <a:pt x="95" y="137"/>
                          </a:lnTo>
                          <a:lnTo>
                            <a:pt x="95" y="137"/>
                          </a:lnTo>
                          <a:lnTo>
                            <a:pt x="92" y="134"/>
                          </a:lnTo>
                          <a:lnTo>
                            <a:pt x="92" y="134"/>
                          </a:lnTo>
                          <a:lnTo>
                            <a:pt x="92" y="132"/>
                          </a:lnTo>
                          <a:lnTo>
                            <a:pt x="92" y="132"/>
                          </a:lnTo>
                          <a:lnTo>
                            <a:pt x="90" y="129"/>
                          </a:lnTo>
                          <a:lnTo>
                            <a:pt x="90" y="129"/>
                          </a:lnTo>
                          <a:lnTo>
                            <a:pt x="90" y="127"/>
                          </a:lnTo>
                          <a:lnTo>
                            <a:pt x="90" y="127"/>
                          </a:lnTo>
                          <a:lnTo>
                            <a:pt x="92" y="115"/>
                          </a:lnTo>
                          <a:lnTo>
                            <a:pt x="92" y="115"/>
                          </a:lnTo>
                          <a:lnTo>
                            <a:pt x="95" y="113"/>
                          </a:lnTo>
                          <a:lnTo>
                            <a:pt x="95" y="113"/>
                          </a:lnTo>
                          <a:lnTo>
                            <a:pt x="99" y="111"/>
                          </a:lnTo>
                          <a:lnTo>
                            <a:pt x="99" y="111"/>
                          </a:lnTo>
                          <a:lnTo>
                            <a:pt x="102" y="106"/>
                          </a:lnTo>
                          <a:lnTo>
                            <a:pt x="102" y="106"/>
                          </a:lnTo>
                          <a:lnTo>
                            <a:pt x="102" y="106"/>
                          </a:lnTo>
                          <a:lnTo>
                            <a:pt x="102" y="106"/>
                          </a:lnTo>
                          <a:lnTo>
                            <a:pt x="102" y="101"/>
                          </a:lnTo>
                          <a:lnTo>
                            <a:pt x="102" y="101"/>
                          </a:lnTo>
                          <a:lnTo>
                            <a:pt x="102" y="92"/>
                          </a:lnTo>
                          <a:lnTo>
                            <a:pt x="102" y="92"/>
                          </a:lnTo>
                          <a:lnTo>
                            <a:pt x="102" y="89"/>
                          </a:lnTo>
                          <a:lnTo>
                            <a:pt x="102" y="89"/>
                          </a:lnTo>
                          <a:lnTo>
                            <a:pt x="99" y="85"/>
                          </a:lnTo>
                          <a:lnTo>
                            <a:pt x="99" y="85"/>
                          </a:lnTo>
                          <a:lnTo>
                            <a:pt x="97" y="80"/>
                          </a:lnTo>
                          <a:lnTo>
                            <a:pt x="97" y="80"/>
                          </a:lnTo>
                          <a:lnTo>
                            <a:pt x="90" y="75"/>
                          </a:lnTo>
                          <a:lnTo>
                            <a:pt x="90" y="75"/>
                          </a:lnTo>
                          <a:lnTo>
                            <a:pt x="76" y="59"/>
                          </a:lnTo>
                          <a:lnTo>
                            <a:pt x="76" y="59"/>
                          </a:lnTo>
                          <a:lnTo>
                            <a:pt x="73" y="54"/>
                          </a:lnTo>
                          <a:lnTo>
                            <a:pt x="73" y="54"/>
                          </a:lnTo>
                          <a:lnTo>
                            <a:pt x="71" y="47"/>
                          </a:lnTo>
                          <a:lnTo>
                            <a:pt x="71" y="47"/>
                          </a:lnTo>
                          <a:lnTo>
                            <a:pt x="69" y="44"/>
                          </a:lnTo>
                          <a:lnTo>
                            <a:pt x="69" y="44"/>
                          </a:lnTo>
                          <a:lnTo>
                            <a:pt x="62" y="44"/>
                          </a:lnTo>
                          <a:lnTo>
                            <a:pt x="62" y="44"/>
                          </a:lnTo>
                          <a:lnTo>
                            <a:pt x="52" y="42"/>
                          </a:lnTo>
                          <a:lnTo>
                            <a:pt x="52" y="42"/>
                          </a:lnTo>
                          <a:lnTo>
                            <a:pt x="47" y="40"/>
                          </a:lnTo>
                          <a:lnTo>
                            <a:pt x="47" y="40"/>
                          </a:lnTo>
                          <a:lnTo>
                            <a:pt x="36" y="28"/>
                          </a:lnTo>
                          <a:lnTo>
                            <a:pt x="36" y="28"/>
                          </a:lnTo>
                          <a:lnTo>
                            <a:pt x="36" y="26"/>
                          </a:lnTo>
                          <a:lnTo>
                            <a:pt x="36" y="26"/>
                          </a:lnTo>
                          <a:lnTo>
                            <a:pt x="33" y="23"/>
                          </a:lnTo>
                          <a:lnTo>
                            <a:pt x="33" y="23"/>
                          </a:lnTo>
                          <a:lnTo>
                            <a:pt x="33" y="23"/>
                          </a:lnTo>
                          <a:lnTo>
                            <a:pt x="33" y="23"/>
                          </a:lnTo>
                          <a:lnTo>
                            <a:pt x="29" y="26"/>
                          </a:lnTo>
                          <a:lnTo>
                            <a:pt x="29" y="26"/>
                          </a:lnTo>
                          <a:lnTo>
                            <a:pt x="26" y="23"/>
                          </a:lnTo>
                          <a:lnTo>
                            <a:pt x="26" y="23"/>
                          </a:lnTo>
                          <a:lnTo>
                            <a:pt x="24" y="23"/>
                          </a:lnTo>
                          <a:lnTo>
                            <a:pt x="24" y="23"/>
                          </a:lnTo>
                          <a:lnTo>
                            <a:pt x="21" y="23"/>
                          </a:lnTo>
                          <a:lnTo>
                            <a:pt x="21" y="23"/>
                          </a:lnTo>
                          <a:lnTo>
                            <a:pt x="19" y="23"/>
                          </a:lnTo>
                          <a:lnTo>
                            <a:pt x="19" y="23"/>
                          </a:lnTo>
                          <a:lnTo>
                            <a:pt x="14" y="23"/>
                          </a:lnTo>
                          <a:lnTo>
                            <a:pt x="14" y="23"/>
                          </a:lnTo>
                          <a:lnTo>
                            <a:pt x="12" y="26"/>
                          </a:lnTo>
                          <a:lnTo>
                            <a:pt x="12" y="26"/>
                          </a:lnTo>
                          <a:lnTo>
                            <a:pt x="12" y="28"/>
                          </a:lnTo>
                          <a:lnTo>
                            <a:pt x="12" y="28"/>
                          </a:lnTo>
                          <a:lnTo>
                            <a:pt x="10" y="30"/>
                          </a:lnTo>
                          <a:lnTo>
                            <a:pt x="10" y="30"/>
                          </a:lnTo>
                          <a:lnTo>
                            <a:pt x="0" y="47"/>
                          </a:lnTo>
                          <a:lnTo>
                            <a:pt x="0" y="47"/>
                          </a:lnTo>
                          <a:lnTo>
                            <a:pt x="0" y="47"/>
                          </a:lnTo>
                          <a:lnTo>
                            <a:pt x="0" y="47"/>
                          </a:lnTo>
                          <a:lnTo>
                            <a:pt x="0" y="47"/>
                          </a:lnTo>
                          <a:lnTo>
                            <a:pt x="0" y="47"/>
                          </a:lnTo>
                          <a:lnTo>
                            <a:pt x="0" y="44"/>
                          </a:lnTo>
                          <a:lnTo>
                            <a:pt x="0" y="44"/>
                          </a:lnTo>
                          <a:lnTo>
                            <a:pt x="0" y="42"/>
                          </a:lnTo>
                          <a:lnTo>
                            <a:pt x="0" y="42"/>
                          </a:lnTo>
                          <a:lnTo>
                            <a:pt x="7" y="30"/>
                          </a:lnTo>
                          <a:lnTo>
                            <a:pt x="7" y="30"/>
                          </a:lnTo>
                          <a:lnTo>
                            <a:pt x="12" y="18"/>
                          </a:lnTo>
                          <a:lnTo>
                            <a:pt x="12" y="18"/>
                          </a:lnTo>
                          <a:lnTo>
                            <a:pt x="17" y="7"/>
                          </a:lnTo>
                          <a:lnTo>
                            <a:pt x="17" y="7"/>
                          </a:lnTo>
                          <a:lnTo>
                            <a:pt x="17" y="4"/>
                          </a:lnTo>
                          <a:lnTo>
                            <a:pt x="17" y="4"/>
                          </a:lnTo>
                          <a:lnTo>
                            <a:pt x="17" y="4"/>
                          </a:lnTo>
                          <a:lnTo>
                            <a:pt x="17" y="4"/>
                          </a:lnTo>
                          <a:lnTo>
                            <a:pt x="17" y="2"/>
                          </a:lnTo>
                          <a:lnTo>
                            <a:pt x="17" y="2"/>
                          </a:lnTo>
                          <a:lnTo>
                            <a:pt x="17" y="0"/>
                          </a:lnTo>
                          <a:lnTo>
                            <a:pt x="17" y="0"/>
                          </a:lnTo>
                          <a:lnTo>
                            <a:pt x="19" y="0"/>
                          </a:lnTo>
                          <a:lnTo>
                            <a:pt x="19" y="0"/>
                          </a:lnTo>
                          <a:lnTo>
                            <a:pt x="19" y="0"/>
                          </a:lnTo>
                          <a:lnTo>
                            <a:pt x="19" y="0"/>
                          </a:lnTo>
                          <a:lnTo>
                            <a:pt x="24" y="2"/>
                          </a:lnTo>
                          <a:lnTo>
                            <a:pt x="24" y="2"/>
                          </a:lnTo>
                          <a:lnTo>
                            <a:pt x="26" y="2"/>
                          </a:lnTo>
                          <a:lnTo>
                            <a:pt x="26" y="2"/>
                          </a:lnTo>
                          <a:lnTo>
                            <a:pt x="26" y="2"/>
                          </a:lnTo>
                          <a:lnTo>
                            <a:pt x="26" y="2"/>
                          </a:lnTo>
                          <a:lnTo>
                            <a:pt x="24" y="2"/>
                          </a:lnTo>
                          <a:lnTo>
                            <a:pt x="24" y="2"/>
                          </a:lnTo>
                          <a:lnTo>
                            <a:pt x="21" y="4"/>
                          </a:lnTo>
                          <a:lnTo>
                            <a:pt x="21" y="4"/>
                          </a:lnTo>
                          <a:lnTo>
                            <a:pt x="21" y="4"/>
                          </a:lnTo>
                          <a:lnTo>
                            <a:pt x="21" y="4"/>
                          </a:lnTo>
                          <a:lnTo>
                            <a:pt x="21" y="7"/>
                          </a:lnTo>
                          <a:lnTo>
                            <a:pt x="21" y="7"/>
                          </a:lnTo>
                          <a:lnTo>
                            <a:pt x="21" y="11"/>
                          </a:lnTo>
                          <a:lnTo>
                            <a:pt x="21" y="11"/>
                          </a:lnTo>
                          <a:lnTo>
                            <a:pt x="21" y="11"/>
                          </a:lnTo>
                          <a:lnTo>
                            <a:pt x="21" y="11"/>
                          </a:lnTo>
                          <a:lnTo>
                            <a:pt x="21" y="14"/>
                          </a:lnTo>
                          <a:lnTo>
                            <a:pt x="21" y="14"/>
                          </a:lnTo>
                          <a:lnTo>
                            <a:pt x="24" y="11"/>
                          </a:lnTo>
                          <a:lnTo>
                            <a:pt x="24" y="11"/>
                          </a:lnTo>
                          <a:lnTo>
                            <a:pt x="31" y="18"/>
                          </a:lnTo>
                          <a:lnTo>
                            <a:pt x="31" y="18"/>
                          </a:lnTo>
                          <a:lnTo>
                            <a:pt x="38" y="26"/>
                          </a:lnTo>
                          <a:lnTo>
                            <a:pt x="38" y="26"/>
                          </a:lnTo>
                          <a:lnTo>
                            <a:pt x="47" y="35"/>
                          </a:lnTo>
                          <a:lnTo>
                            <a:pt x="47" y="35"/>
                          </a:lnTo>
                          <a:lnTo>
                            <a:pt x="59" y="42"/>
                          </a:lnTo>
                          <a:lnTo>
                            <a:pt x="59" y="42"/>
                          </a:lnTo>
                          <a:lnTo>
                            <a:pt x="62" y="42"/>
                          </a:lnTo>
                          <a:lnTo>
                            <a:pt x="62" y="42"/>
                          </a:lnTo>
                          <a:lnTo>
                            <a:pt x="64" y="42"/>
                          </a:lnTo>
                          <a:lnTo>
                            <a:pt x="64" y="42"/>
                          </a:lnTo>
                          <a:lnTo>
                            <a:pt x="66" y="42"/>
                          </a:lnTo>
                          <a:lnTo>
                            <a:pt x="66" y="42"/>
                          </a:lnTo>
                          <a:lnTo>
                            <a:pt x="69" y="42"/>
                          </a:lnTo>
                          <a:lnTo>
                            <a:pt x="69" y="42"/>
                          </a:lnTo>
                          <a:lnTo>
                            <a:pt x="69" y="40"/>
                          </a:lnTo>
                          <a:lnTo>
                            <a:pt x="69" y="40"/>
                          </a:lnTo>
                          <a:lnTo>
                            <a:pt x="69" y="40"/>
                          </a:lnTo>
                          <a:lnTo>
                            <a:pt x="69" y="40"/>
                          </a:lnTo>
                          <a:lnTo>
                            <a:pt x="71" y="40"/>
                          </a:lnTo>
                          <a:lnTo>
                            <a:pt x="71" y="40"/>
                          </a:lnTo>
                          <a:lnTo>
                            <a:pt x="73" y="44"/>
                          </a:lnTo>
                          <a:lnTo>
                            <a:pt x="73" y="44"/>
                          </a:lnTo>
                          <a:lnTo>
                            <a:pt x="73" y="49"/>
                          </a:lnTo>
                          <a:lnTo>
                            <a:pt x="73" y="49"/>
                          </a:lnTo>
                          <a:lnTo>
                            <a:pt x="76" y="54"/>
                          </a:lnTo>
                          <a:lnTo>
                            <a:pt x="76" y="54"/>
                          </a:lnTo>
                          <a:lnTo>
                            <a:pt x="78" y="56"/>
                          </a:lnTo>
                          <a:lnTo>
                            <a:pt x="78" y="56"/>
                          </a:lnTo>
                          <a:lnTo>
                            <a:pt x="83" y="61"/>
                          </a:lnTo>
                          <a:lnTo>
                            <a:pt x="83" y="61"/>
                          </a:lnTo>
                          <a:lnTo>
                            <a:pt x="92" y="70"/>
                          </a:lnTo>
                          <a:lnTo>
                            <a:pt x="92" y="70"/>
                          </a:lnTo>
                          <a:lnTo>
                            <a:pt x="99" y="75"/>
                          </a:lnTo>
                          <a:lnTo>
                            <a:pt x="99" y="75"/>
                          </a:lnTo>
                          <a:lnTo>
                            <a:pt x="99" y="75"/>
                          </a:lnTo>
                          <a:lnTo>
                            <a:pt x="99" y="75"/>
                          </a:lnTo>
                          <a:lnTo>
                            <a:pt x="102" y="77"/>
                          </a:lnTo>
                          <a:lnTo>
                            <a:pt x="102" y="77"/>
                          </a:lnTo>
                          <a:lnTo>
                            <a:pt x="104" y="77"/>
                          </a:lnTo>
                          <a:lnTo>
                            <a:pt x="104" y="77"/>
                          </a:lnTo>
                          <a:lnTo>
                            <a:pt x="104" y="82"/>
                          </a:lnTo>
                          <a:lnTo>
                            <a:pt x="104" y="82"/>
                          </a:lnTo>
                          <a:lnTo>
                            <a:pt x="107" y="92"/>
                          </a:lnTo>
                          <a:lnTo>
                            <a:pt x="107" y="92"/>
                          </a:lnTo>
                          <a:lnTo>
                            <a:pt x="107" y="101"/>
                          </a:lnTo>
                          <a:lnTo>
                            <a:pt x="107" y="101"/>
                          </a:lnTo>
                          <a:lnTo>
                            <a:pt x="104" y="101"/>
                          </a:lnTo>
                          <a:lnTo>
                            <a:pt x="104" y="101"/>
                          </a:lnTo>
                          <a:lnTo>
                            <a:pt x="99" y="118"/>
                          </a:lnTo>
                          <a:lnTo>
                            <a:pt x="99" y="118"/>
                          </a:lnTo>
                          <a:lnTo>
                            <a:pt x="102" y="120"/>
                          </a:lnTo>
                          <a:lnTo>
                            <a:pt x="102" y="120"/>
                          </a:lnTo>
                          <a:lnTo>
                            <a:pt x="102" y="125"/>
                          </a:lnTo>
                          <a:lnTo>
                            <a:pt x="102" y="125"/>
                          </a:lnTo>
                          <a:lnTo>
                            <a:pt x="102" y="129"/>
                          </a:lnTo>
                          <a:lnTo>
                            <a:pt x="102" y="129"/>
                          </a:lnTo>
                          <a:lnTo>
                            <a:pt x="102" y="134"/>
                          </a:lnTo>
                          <a:lnTo>
                            <a:pt x="102" y="134"/>
                          </a:lnTo>
                          <a:lnTo>
                            <a:pt x="102" y="139"/>
                          </a:lnTo>
                          <a:lnTo>
                            <a:pt x="102" y="139"/>
                          </a:lnTo>
                          <a:lnTo>
                            <a:pt x="99" y="141"/>
                          </a:lnTo>
                          <a:lnTo>
                            <a:pt x="99" y="141"/>
                          </a:lnTo>
                          <a:lnTo>
                            <a:pt x="95" y="151"/>
                          </a:lnTo>
                          <a:lnTo>
                            <a:pt x="95" y="151"/>
                          </a:lnTo>
                          <a:lnTo>
                            <a:pt x="95" y="153"/>
                          </a:lnTo>
                          <a:lnTo>
                            <a:pt x="95" y="153"/>
                          </a:lnTo>
                          <a:lnTo>
                            <a:pt x="95" y="158"/>
                          </a:lnTo>
                          <a:lnTo>
                            <a:pt x="95" y="158"/>
                          </a:lnTo>
                          <a:lnTo>
                            <a:pt x="95" y="160"/>
                          </a:lnTo>
                          <a:lnTo>
                            <a:pt x="95" y="160"/>
                          </a:lnTo>
                          <a:lnTo>
                            <a:pt x="99" y="165"/>
                          </a:lnTo>
                          <a:lnTo>
                            <a:pt x="99" y="165"/>
                          </a:lnTo>
                          <a:lnTo>
                            <a:pt x="102" y="174"/>
                          </a:lnTo>
                          <a:lnTo>
                            <a:pt x="102" y="174"/>
                          </a:lnTo>
                          <a:lnTo>
                            <a:pt x="102" y="177"/>
                          </a:lnTo>
                          <a:lnTo>
                            <a:pt x="102" y="177"/>
                          </a:lnTo>
                          <a:lnTo>
                            <a:pt x="99" y="177"/>
                          </a:lnTo>
                          <a:lnTo>
                            <a:pt x="99" y="177"/>
                          </a:lnTo>
                          <a:lnTo>
                            <a:pt x="99" y="177"/>
                          </a:lnTo>
                          <a:lnTo>
                            <a:pt x="99" y="177"/>
                          </a:lnTo>
                          <a:close/>
                        </a:path>
                      </a:pathLst>
                    </a:custGeom>
                    <a:solidFill>
                      <a:srgbClr val="0070C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95" name="Freeform 1120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073" y="746"/>
                      <a:ext cx="12" cy="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2" y="5"/>
                        </a:cxn>
                        <a:cxn ang="0">
                          <a:pos x="2" y="5"/>
                        </a:cxn>
                        <a:cxn ang="0">
                          <a:pos x="2" y="5"/>
                        </a:cxn>
                        <a:cxn ang="0">
                          <a:pos x="2" y="5"/>
                        </a:cxn>
                        <a:cxn ang="0">
                          <a:pos x="4" y="5"/>
                        </a:cxn>
                        <a:cxn ang="0">
                          <a:pos x="4" y="5"/>
                        </a:cxn>
                        <a:cxn ang="0">
                          <a:pos x="4" y="7"/>
                        </a:cxn>
                        <a:cxn ang="0">
                          <a:pos x="4" y="7"/>
                        </a:cxn>
                        <a:cxn ang="0">
                          <a:pos x="4" y="7"/>
                        </a:cxn>
                        <a:cxn ang="0">
                          <a:pos x="4" y="7"/>
                        </a:cxn>
                        <a:cxn ang="0">
                          <a:pos x="4" y="7"/>
                        </a:cxn>
                        <a:cxn ang="0">
                          <a:pos x="4" y="7"/>
                        </a:cxn>
                        <a:cxn ang="0">
                          <a:pos x="4" y="7"/>
                        </a:cxn>
                        <a:cxn ang="0">
                          <a:pos x="4" y="7"/>
                        </a:cxn>
                        <a:cxn ang="0">
                          <a:pos x="4" y="7"/>
                        </a:cxn>
                        <a:cxn ang="0">
                          <a:pos x="4" y="7"/>
                        </a:cxn>
                        <a:cxn ang="0">
                          <a:pos x="4" y="7"/>
                        </a:cxn>
                        <a:cxn ang="0">
                          <a:pos x="4" y="7"/>
                        </a:cxn>
                        <a:cxn ang="0">
                          <a:pos x="4" y="7"/>
                        </a:cxn>
                        <a:cxn ang="0">
                          <a:pos x="4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9" y="3"/>
                        </a:cxn>
                        <a:cxn ang="0">
                          <a:pos x="9" y="3"/>
                        </a:cxn>
                        <a:cxn ang="0">
                          <a:pos x="9" y="3"/>
                        </a:cxn>
                        <a:cxn ang="0">
                          <a:pos x="9" y="3"/>
                        </a:cxn>
                        <a:cxn ang="0">
                          <a:pos x="9" y="0"/>
                        </a:cxn>
                        <a:cxn ang="0">
                          <a:pos x="9" y="0"/>
                        </a:cxn>
                        <a:cxn ang="0">
                          <a:pos x="11" y="0"/>
                        </a:cxn>
                        <a:cxn ang="0">
                          <a:pos x="11" y="0"/>
                        </a:cxn>
                        <a:cxn ang="0">
                          <a:pos x="11" y="3"/>
                        </a:cxn>
                        <a:cxn ang="0">
                          <a:pos x="11" y="3"/>
                        </a:cxn>
                        <a:cxn ang="0">
                          <a:pos x="11" y="3"/>
                        </a:cxn>
                        <a:cxn ang="0">
                          <a:pos x="11" y="3"/>
                        </a:cxn>
                        <a:cxn ang="0">
                          <a:pos x="9" y="5"/>
                        </a:cxn>
                        <a:cxn ang="0">
                          <a:pos x="9" y="5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</a:cxnLst>
                      <a:rect l="0" t="0" r="r" b="b"/>
                      <a:pathLst>
                        <a:path w="11" h="7">
                          <a:moveTo>
                            <a:pt x="0" y="7"/>
                          </a:move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4" y="5"/>
                          </a:lnTo>
                          <a:lnTo>
                            <a:pt x="4" y="5"/>
                          </a:lnTo>
                          <a:lnTo>
                            <a:pt x="4" y="7"/>
                          </a:lnTo>
                          <a:lnTo>
                            <a:pt x="4" y="7"/>
                          </a:lnTo>
                          <a:lnTo>
                            <a:pt x="4" y="7"/>
                          </a:lnTo>
                          <a:lnTo>
                            <a:pt x="4" y="7"/>
                          </a:lnTo>
                          <a:lnTo>
                            <a:pt x="4" y="7"/>
                          </a:lnTo>
                          <a:lnTo>
                            <a:pt x="4" y="7"/>
                          </a:lnTo>
                          <a:lnTo>
                            <a:pt x="4" y="7"/>
                          </a:lnTo>
                          <a:lnTo>
                            <a:pt x="4" y="7"/>
                          </a:lnTo>
                          <a:lnTo>
                            <a:pt x="4" y="7"/>
                          </a:lnTo>
                          <a:lnTo>
                            <a:pt x="4" y="7"/>
                          </a:lnTo>
                          <a:lnTo>
                            <a:pt x="4" y="7"/>
                          </a:lnTo>
                          <a:lnTo>
                            <a:pt x="4" y="7"/>
                          </a:lnTo>
                          <a:lnTo>
                            <a:pt x="4" y="7"/>
                          </a:lnTo>
                          <a:lnTo>
                            <a:pt x="4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9" y="3"/>
                          </a:lnTo>
                          <a:lnTo>
                            <a:pt x="9" y="3"/>
                          </a:lnTo>
                          <a:lnTo>
                            <a:pt x="9" y="3"/>
                          </a:lnTo>
                          <a:lnTo>
                            <a:pt x="9" y="3"/>
                          </a:lnTo>
                          <a:lnTo>
                            <a:pt x="9" y="0"/>
                          </a:lnTo>
                          <a:lnTo>
                            <a:pt x="9" y="0"/>
                          </a:lnTo>
                          <a:lnTo>
                            <a:pt x="11" y="0"/>
                          </a:lnTo>
                          <a:lnTo>
                            <a:pt x="11" y="0"/>
                          </a:lnTo>
                          <a:lnTo>
                            <a:pt x="11" y="3"/>
                          </a:lnTo>
                          <a:lnTo>
                            <a:pt x="11" y="3"/>
                          </a:lnTo>
                          <a:lnTo>
                            <a:pt x="11" y="3"/>
                          </a:lnTo>
                          <a:lnTo>
                            <a:pt x="11" y="3"/>
                          </a:lnTo>
                          <a:lnTo>
                            <a:pt x="9" y="5"/>
                          </a:lnTo>
                          <a:lnTo>
                            <a:pt x="9" y="5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96" name="Freeform 1121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984" y="797"/>
                      <a:ext cx="156" cy="325"/>
                    </a:xfrm>
                    <a:custGeom>
                      <a:avLst/>
                      <a:gdLst/>
                      <a:ahLst/>
                      <a:cxnLst>
                        <a:cxn ang="0">
                          <a:pos x="106" y="276"/>
                        </a:cxn>
                        <a:cxn ang="0">
                          <a:pos x="94" y="272"/>
                        </a:cxn>
                        <a:cxn ang="0">
                          <a:pos x="99" y="267"/>
                        </a:cxn>
                        <a:cxn ang="0">
                          <a:pos x="104" y="265"/>
                        </a:cxn>
                        <a:cxn ang="0">
                          <a:pos x="92" y="255"/>
                        </a:cxn>
                        <a:cxn ang="0">
                          <a:pos x="80" y="215"/>
                        </a:cxn>
                        <a:cxn ang="0">
                          <a:pos x="75" y="208"/>
                        </a:cxn>
                        <a:cxn ang="0">
                          <a:pos x="89" y="184"/>
                        </a:cxn>
                        <a:cxn ang="0">
                          <a:pos x="85" y="182"/>
                        </a:cxn>
                        <a:cxn ang="0">
                          <a:pos x="82" y="194"/>
                        </a:cxn>
                        <a:cxn ang="0">
                          <a:pos x="71" y="198"/>
                        </a:cxn>
                        <a:cxn ang="0">
                          <a:pos x="61" y="182"/>
                        </a:cxn>
                        <a:cxn ang="0">
                          <a:pos x="54" y="161"/>
                        </a:cxn>
                        <a:cxn ang="0">
                          <a:pos x="49" y="154"/>
                        </a:cxn>
                        <a:cxn ang="0">
                          <a:pos x="40" y="144"/>
                        </a:cxn>
                        <a:cxn ang="0">
                          <a:pos x="45" y="135"/>
                        </a:cxn>
                        <a:cxn ang="0">
                          <a:pos x="38" y="144"/>
                        </a:cxn>
                        <a:cxn ang="0">
                          <a:pos x="2" y="116"/>
                        </a:cxn>
                        <a:cxn ang="0">
                          <a:pos x="4" y="111"/>
                        </a:cxn>
                        <a:cxn ang="0">
                          <a:pos x="30" y="69"/>
                        </a:cxn>
                        <a:cxn ang="0">
                          <a:pos x="40" y="54"/>
                        </a:cxn>
                        <a:cxn ang="0">
                          <a:pos x="40" y="43"/>
                        </a:cxn>
                        <a:cxn ang="0">
                          <a:pos x="38" y="17"/>
                        </a:cxn>
                        <a:cxn ang="0">
                          <a:pos x="38" y="0"/>
                        </a:cxn>
                        <a:cxn ang="0">
                          <a:pos x="47" y="9"/>
                        </a:cxn>
                        <a:cxn ang="0">
                          <a:pos x="54" y="7"/>
                        </a:cxn>
                        <a:cxn ang="0">
                          <a:pos x="71" y="28"/>
                        </a:cxn>
                        <a:cxn ang="0">
                          <a:pos x="68" y="31"/>
                        </a:cxn>
                        <a:cxn ang="0">
                          <a:pos x="71" y="43"/>
                        </a:cxn>
                        <a:cxn ang="0">
                          <a:pos x="85" y="71"/>
                        </a:cxn>
                        <a:cxn ang="0">
                          <a:pos x="97" y="87"/>
                        </a:cxn>
                        <a:cxn ang="0">
                          <a:pos x="99" y="111"/>
                        </a:cxn>
                        <a:cxn ang="0">
                          <a:pos x="104" y="128"/>
                        </a:cxn>
                        <a:cxn ang="0">
                          <a:pos x="101" y="142"/>
                        </a:cxn>
                        <a:cxn ang="0">
                          <a:pos x="85" y="158"/>
                        </a:cxn>
                        <a:cxn ang="0">
                          <a:pos x="89" y="163"/>
                        </a:cxn>
                        <a:cxn ang="0">
                          <a:pos x="82" y="165"/>
                        </a:cxn>
                        <a:cxn ang="0">
                          <a:pos x="73" y="165"/>
                        </a:cxn>
                        <a:cxn ang="0">
                          <a:pos x="61" y="168"/>
                        </a:cxn>
                        <a:cxn ang="0">
                          <a:pos x="66" y="175"/>
                        </a:cxn>
                        <a:cxn ang="0">
                          <a:pos x="78" y="177"/>
                        </a:cxn>
                        <a:cxn ang="0">
                          <a:pos x="73" y="184"/>
                        </a:cxn>
                        <a:cxn ang="0">
                          <a:pos x="89" y="177"/>
                        </a:cxn>
                        <a:cxn ang="0">
                          <a:pos x="106" y="149"/>
                        </a:cxn>
                        <a:cxn ang="0">
                          <a:pos x="97" y="175"/>
                        </a:cxn>
                        <a:cxn ang="0">
                          <a:pos x="94" y="187"/>
                        </a:cxn>
                        <a:cxn ang="0">
                          <a:pos x="97" y="180"/>
                        </a:cxn>
                        <a:cxn ang="0">
                          <a:pos x="115" y="180"/>
                        </a:cxn>
                        <a:cxn ang="0">
                          <a:pos x="106" y="220"/>
                        </a:cxn>
                        <a:cxn ang="0">
                          <a:pos x="111" y="215"/>
                        </a:cxn>
                        <a:cxn ang="0">
                          <a:pos x="118" y="191"/>
                        </a:cxn>
                        <a:cxn ang="0">
                          <a:pos x="123" y="187"/>
                        </a:cxn>
                        <a:cxn ang="0">
                          <a:pos x="127" y="201"/>
                        </a:cxn>
                        <a:cxn ang="0">
                          <a:pos x="137" y="253"/>
                        </a:cxn>
                        <a:cxn ang="0">
                          <a:pos x="115" y="279"/>
                        </a:cxn>
                        <a:cxn ang="0">
                          <a:pos x="106" y="276"/>
                        </a:cxn>
                        <a:cxn ang="0">
                          <a:pos x="111" y="284"/>
                        </a:cxn>
                      </a:cxnLst>
                      <a:rect l="0" t="0" r="r" b="b"/>
                      <a:pathLst>
                        <a:path w="137" h="286">
                          <a:moveTo>
                            <a:pt x="108" y="286"/>
                          </a:moveTo>
                          <a:lnTo>
                            <a:pt x="106" y="286"/>
                          </a:lnTo>
                          <a:lnTo>
                            <a:pt x="106" y="286"/>
                          </a:lnTo>
                          <a:lnTo>
                            <a:pt x="106" y="284"/>
                          </a:lnTo>
                          <a:lnTo>
                            <a:pt x="106" y="284"/>
                          </a:lnTo>
                          <a:lnTo>
                            <a:pt x="106" y="284"/>
                          </a:lnTo>
                          <a:lnTo>
                            <a:pt x="106" y="284"/>
                          </a:lnTo>
                          <a:lnTo>
                            <a:pt x="106" y="276"/>
                          </a:lnTo>
                          <a:lnTo>
                            <a:pt x="106" y="276"/>
                          </a:lnTo>
                          <a:lnTo>
                            <a:pt x="106" y="276"/>
                          </a:lnTo>
                          <a:lnTo>
                            <a:pt x="106" y="276"/>
                          </a:lnTo>
                          <a:lnTo>
                            <a:pt x="104" y="276"/>
                          </a:lnTo>
                          <a:lnTo>
                            <a:pt x="104" y="276"/>
                          </a:lnTo>
                          <a:lnTo>
                            <a:pt x="101" y="276"/>
                          </a:lnTo>
                          <a:lnTo>
                            <a:pt x="101" y="276"/>
                          </a:lnTo>
                          <a:lnTo>
                            <a:pt x="99" y="276"/>
                          </a:lnTo>
                          <a:lnTo>
                            <a:pt x="99" y="276"/>
                          </a:lnTo>
                          <a:lnTo>
                            <a:pt x="99" y="276"/>
                          </a:lnTo>
                          <a:lnTo>
                            <a:pt x="99" y="276"/>
                          </a:lnTo>
                          <a:lnTo>
                            <a:pt x="94" y="272"/>
                          </a:lnTo>
                          <a:lnTo>
                            <a:pt x="94" y="272"/>
                          </a:lnTo>
                          <a:lnTo>
                            <a:pt x="94" y="269"/>
                          </a:lnTo>
                          <a:lnTo>
                            <a:pt x="94" y="269"/>
                          </a:lnTo>
                          <a:lnTo>
                            <a:pt x="94" y="267"/>
                          </a:lnTo>
                          <a:lnTo>
                            <a:pt x="94" y="267"/>
                          </a:lnTo>
                          <a:lnTo>
                            <a:pt x="94" y="265"/>
                          </a:lnTo>
                          <a:lnTo>
                            <a:pt x="94" y="265"/>
                          </a:lnTo>
                          <a:lnTo>
                            <a:pt x="97" y="265"/>
                          </a:lnTo>
                          <a:lnTo>
                            <a:pt x="97" y="265"/>
                          </a:lnTo>
                          <a:lnTo>
                            <a:pt x="99" y="267"/>
                          </a:lnTo>
                          <a:lnTo>
                            <a:pt x="99" y="267"/>
                          </a:lnTo>
                          <a:lnTo>
                            <a:pt x="101" y="269"/>
                          </a:lnTo>
                          <a:lnTo>
                            <a:pt x="101" y="269"/>
                          </a:lnTo>
                          <a:lnTo>
                            <a:pt x="101" y="269"/>
                          </a:lnTo>
                          <a:lnTo>
                            <a:pt x="101" y="269"/>
                          </a:lnTo>
                          <a:lnTo>
                            <a:pt x="104" y="267"/>
                          </a:lnTo>
                          <a:lnTo>
                            <a:pt x="104" y="267"/>
                          </a:lnTo>
                          <a:lnTo>
                            <a:pt x="104" y="265"/>
                          </a:lnTo>
                          <a:lnTo>
                            <a:pt x="104" y="265"/>
                          </a:lnTo>
                          <a:lnTo>
                            <a:pt x="104" y="265"/>
                          </a:lnTo>
                          <a:lnTo>
                            <a:pt x="104" y="265"/>
                          </a:lnTo>
                          <a:lnTo>
                            <a:pt x="101" y="262"/>
                          </a:lnTo>
                          <a:lnTo>
                            <a:pt x="101" y="262"/>
                          </a:lnTo>
                          <a:lnTo>
                            <a:pt x="99" y="262"/>
                          </a:lnTo>
                          <a:lnTo>
                            <a:pt x="99" y="262"/>
                          </a:lnTo>
                          <a:lnTo>
                            <a:pt x="97" y="262"/>
                          </a:lnTo>
                          <a:lnTo>
                            <a:pt x="97" y="262"/>
                          </a:lnTo>
                          <a:lnTo>
                            <a:pt x="94" y="260"/>
                          </a:lnTo>
                          <a:lnTo>
                            <a:pt x="94" y="260"/>
                          </a:lnTo>
                          <a:lnTo>
                            <a:pt x="92" y="255"/>
                          </a:lnTo>
                          <a:lnTo>
                            <a:pt x="92" y="255"/>
                          </a:lnTo>
                          <a:lnTo>
                            <a:pt x="92" y="241"/>
                          </a:lnTo>
                          <a:lnTo>
                            <a:pt x="92" y="241"/>
                          </a:lnTo>
                          <a:lnTo>
                            <a:pt x="92" y="232"/>
                          </a:lnTo>
                          <a:lnTo>
                            <a:pt x="92" y="232"/>
                          </a:lnTo>
                          <a:lnTo>
                            <a:pt x="89" y="227"/>
                          </a:lnTo>
                          <a:lnTo>
                            <a:pt x="89" y="227"/>
                          </a:lnTo>
                          <a:lnTo>
                            <a:pt x="85" y="217"/>
                          </a:lnTo>
                          <a:lnTo>
                            <a:pt x="85" y="217"/>
                          </a:lnTo>
                          <a:lnTo>
                            <a:pt x="80" y="215"/>
                          </a:lnTo>
                          <a:lnTo>
                            <a:pt x="80" y="215"/>
                          </a:lnTo>
                          <a:lnTo>
                            <a:pt x="80" y="215"/>
                          </a:lnTo>
                          <a:lnTo>
                            <a:pt x="80" y="215"/>
                          </a:lnTo>
                          <a:lnTo>
                            <a:pt x="75" y="213"/>
                          </a:lnTo>
                          <a:lnTo>
                            <a:pt x="75" y="213"/>
                          </a:lnTo>
                          <a:lnTo>
                            <a:pt x="75" y="210"/>
                          </a:lnTo>
                          <a:lnTo>
                            <a:pt x="75" y="210"/>
                          </a:lnTo>
                          <a:lnTo>
                            <a:pt x="75" y="208"/>
                          </a:lnTo>
                          <a:lnTo>
                            <a:pt x="75" y="208"/>
                          </a:lnTo>
                          <a:lnTo>
                            <a:pt x="75" y="208"/>
                          </a:lnTo>
                          <a:lnTo>
                            <a:pt x="75" y="208"/>
                          </a:lnTo>
                          <a:lnTo>
                            <a:pt x="85" y="198"/>
                          </a:lnTo>
                          <a:lnTo>
                            <a:pt x="85" y="198"/>
                          </a:lnTo>
                          <a:lnTo>
                            <a:pt x="87" y="196"/>
                          </a:lnTo>
                          <a:lnTo>
                            <a:pt x="87" y="196"/>
                          </a:lnTo>
                          <a:lnTo>
                            <a:pt x="89" y="189"/>
                          </a:lnTo>
                          <a:lnTo>
                            <a:pt x="89" y="189"/>
                          </a:lnTo>
                          <a:lnTo>
                            <a:pt x="92" y="184"/>
                          </a:lnTo>
                          <a:lnTo>
                            <a:pt x="92" y="184"/>
                          </a:lnTo>
                          <a:lnTo>
                            <a:pt x="89" y="184"/>
                          </a:lnTo>
                          <a:lnTo>
                            <a:pt x="89" y="184"/>
                          </a:lnTo>
                          <a:lnTo>
                            <a:pt x="87" y="182"/>
                          </a:lnTo>
                          <a:lnTo>
                            <a:pt x="87" y="182"/>
                          </a:lnTo>
                          <a:lnTo>
                            <a:pt x="85" y="180"/>
                          </a:lnTo>
                          <a:lnTo>
                            <a:pt x="85" y="180"/>
                          </a:lnTo>
                          <a:lnTo>
                            <a:pt x="85" y="182"/>
                          </a:lnTo>
                          <a:lnTo>
                            <a:pt x="85" y="182"/>
                          </a:lnTo>
                          <a:lnTo>
                            <a:pt x="85" y="182"/>
                          </a:lnTo>
                          <a:lnTo>
                            <a:pt x="85" y="182"/>
                          </a:lnTo>
                          <a:lnTo>
                            <a:pt x="85" y="182"/>
                          </a:lnTo>
                          <a:lnTo>
                            <a:pt x="85" y="182"/>
                          </a:lnTo>
                          <a:lnTo>
                            <a:pt x="85" y="184"/>
                          </a:lnTo>
                          <a:lnTo>
                            <a:pt x="85" y="184"/>
                          </a:lnTo>
                          <a:lnTo>
                            <a:pt x="85" y="187"/>
                          </a:lnTo>
                          <a:lnTo>
                            <a:pt x="85" y="187"/>
                          </a:lnTo>
                          <a:lnTo>
                            <a:pt x="85" y="191"/>
                          </a:lnTo>
                          <a:lnTo>
                            <a:pt x="85" y="191"/>
                          </a:lnTo>
                          <a:lnTo>
                            <a:pt x="85" y="194"/>
                          </a:lnTo>
                          <a:lnTo>
                            <a:pt x="85" y="194"/>
                          </a:lnTo>
                          <a:lnTo>
                            <a:pt x="82" y="194"/>
                          </a:lnTo>
                          <a:lnTo>
                            <a:pt x="82" y="194"/>
                          </a:lnTo>
                          <a:lnTo>
                            <a:pt x="80" y="194"/>
                          </a:lnTo>
                          <a:lnTo>
                            <a:pt x="80" y="194"/>
                          </a:lnTo>
                          <a:lnTo>
                            <a:pt x="73" y="196"/>
                          </a:lnTo>
                          <a:lnTo>
                            <a:pt x="73" y="196"/>
                          </a:lnTo>
                          <a:lnTo>
                            <a:pt x="73" y="198"/>
                          </a:lnTo>
                          <a:lnTo>
                            <a:pt x="73" y="198"/>
                          </a:lnTo>
                          <a:lnTo>
                            <a:pt x="71" y="198"/>
                          </a:lnTo>
                          <a:lnTo>
                            <a:pt x="71" y="198"/>
                          </a:lnTo>
                          <a:lnTo>
                            <a:pt x="71" y="198"/>
                          </a:lnTo>
                          <a:lnTo>
                            <a:pt x="71" y="198"/>
                          </a:lnTo>
                          <a:lnTo>
                            <a:pt x="68" y="196"/>
                          </a:lnTo>
                          <a:lnTo>
                            <a:pt x="68" y="196"/>
                          </a:lnTo>
                          <a:lnTo>
                            <a:pt x="66" y="191"/>
                          </a:lnTo>
                          <a:lnTo>
                            <a:pt x="66" y="191"/>
                          </a:lnTo>
                          <a:lnTo>
                            <a:pt x="66" y="191"/>
                          </a:lnTo>
                          <a:lnTo>
                            <a:pt x="66" y="191"/>
                          </a:lnTo>
                          <a:lnTo>
                            <a:pt x="66" y="189"/>
                          </a:lnTo>
                          <a:lnTo>
                            <a:pt x="66" y="189"/>
                          </a:lnTo>
                          <a:lnTo>
                            <a:pt x="61" y="182"/>
                          </a:lnTo>
                          <a:lnTo>
                            <a:pt x="61" y="182"/>
                          </a:lnTo>
                          <a:lnTo>
                            <a:pt x="59" y="177"/>
                          </a:lnTo>
                          <a:lnTo>
                            <a:pt x="59" y="177"/>
                          </a:lnTo>
                          <a:lnTo>
                            <a:pt x="56" y="170"/>
                          </a:lnTo>
                          <a:lnTo>
                            <a:pt x="56" y="170"/>
                          </a:lnTo>
                          <a:lnTo>
                            <a:pt x="56" y="170"/>
                          </a:lnTo>
                          <a:lnTo>
                            <a:pt x="56" y="170"/>
                          </a:lnTo>
                          <a:lnTo>
                            <a:pt x="56" y="165"/>
                          </a:lnTo>
                          <a:lnTo>
                            <a:pt x="56" y="165"/>
                          </a:lnTo>
                          <a:lnTo>
                            <a:pt x="54" y="161"/>
                          </a:lnTo>
                          <a:lnTo>
                            <a:pt x="54" y="161"/>
                          </a:lnTo>
                          <a:lnTo>
                            <a:pt x="54" y="158"/>
                          </a:lnTo>
                          <a:lnTo>
                            <a:pt x="54" y="158"/>
                          </a:lnTo>
                          <a:lnTo>
                            <a:pt x="52" y="154"/>
                          </a:lnTo>
                          <a:lnTo>
                            <a:pt x="52" y="154"/>
                          </a:lnTo>
                          <a:lnTo>
                            <a:pt x="49" y="154"/>
                          </a:lnTo>
                          <a:lnTo>
                            <a:pt x="49" y="154"/>
                          </a:lnTo>
                          <a:lnTo>
                            <a:pt x="49" y="154"/>
                          </a:lnTo>
                          <a:lnTo>
                            <a:pt x="49" y="154"/>
                          </a:lnTo>
                          <a:lnTo>
                            <a:pt x="49" y="154"/>
                          </a:lnTo>
                          <a:lnTo>
                            <a:pt x="49" y="154"/>
                          </a:lnTo>
                          <a:lnTo>
                            <a:pt x="47" y="154"/>
                          </a:lnTo>
                          <a:lnTo>
                            <a:pt x="47" y="154"/>
                          </a:lnTo>
                          <a:lnTo>
                            <a:pt x="47" y="154"/>
                          </a:lnTo>
                          <a:lnTo>
                            <a:pt x="47" y="154"/>
                          </a:lnTo>
                          <a:lnTo>
                            <a:pt x="42" y="146"/>
                          </a:lnTo>
                          <a:lnTo>
                            <a:pt x="42" y="146"/>
                          </a:lnTo>
                          <a:lnTo>
                            <a:pt x="40" y="146"/>
                          </a:lnTo>
                          <a:lnTo>
                            <a:pt x="40" y="146"/>
                          </a:lnTo>
                          <a:lnTo>
                            <a:pt x="40" y="144"/>
                          </a:lnTo>
                          <a:lnTo>
                            <a:pt x="40" y="144"/>
                          </a:lnTo>
                          <a:lnTo>
                            <a:pt x="42" y="142"/>
                          </a:lnTo>
                          <a:lnTo>
                            <a:pt x="42" y="142"/>
                          </a:lnTo>
                          <a:lnTo>
                            <a:pt x="45" y="137"/>
                          </a:lnTo>
                          <a:lnTo>
                            <a:pt x="45" y="137"/>
                          </a:lnTo>
                          <a:lnTo>
                            <a:pt x="47" y="135"/>
                          </a:lnTo>
                          <a:lnTo>
                            <a:pt x="47" y="135"/>
                          </a:lnTo>
                          <a:lnTo>
                            <a:pt x="45" y="135"/>
                          </a:lnTo>
                          <a:lnTo>
                            <a:pt x="45" y="135"/>
                          </a:lnTo>
                          <a:lnTo>
                            <a:pt x="45" y="135"/>
                          </a:lnTo>
                          <a:lnTo>
                            <a:pt x="45" y="135"/>
                          </a:lnTo>
                          <a:lnTo>
                            <a:pt x="45" y="135"/>
                          </a:lnTo>
                          <a:lnTo>
                            <a:pt x="45" y="135"/>
                          </a:lnTo>
                          <a:lnTo>
                            <a:pt x="40" y="137"/>
                          </a:lnTo>
                          <a:lnTo>
                            <a:pt x="40" y="137"/>
                          </a:lnTo>
                          <a:lnTo>
                            <a:pt x="38" y="142"/>
                          </a:lnTo>
                          <a:lnTo>
                            <a:pt x="38" y="142"/>
                          </a:lnTo>
                          <a:lnTo>
                            <a:pt x="38" y="144"/>
                          </a:lnTo>
                          <a:lnTo>
                            <a:pt x="38" y="144"/>
                          </a:lnTo>
                          <a:lnTo>
                            <a:pt x="38" y="144"/>
                          </a:lnTo>
                          <a:lnTo>
                            <a:pt x="38" y="144"/>
                          </a:lnTo>
                          <a:lnTo>
                            <a:pt x="33" y="142"/>
                          </a:lnTo>
                          <a:lnTo>
                            <a:pt x="33" y="142"/>
                          </a:lnTo>
                          <a:lnTo>
                            <a:pt x="28" y="137"/>
                          </a:lnTo>
                          <a:lnTo>
                            <a:pt x="28" y="137"/>
                          </a:lnTo>
                          <a:lnTo>
                            <a:pt x="23" y="135"/>
                          </a:lnTo>
                          <a:lnTo>
                            <a:pt x="23" y="135"/>
                          </a:lnTo>
                          <a:lnTo>
                            <a:pt x="21" y="135"/>
                          </a:lnTo>
                          <a:lnTo>
                            <a:pt x="21" y="135"/>
                          </a:lnTo>
                          <a:lnTo>
                            <a:pt x="2" y="116"/>
                          </a:lnTo>
                          <a:lnTo>
                            <a:pt x="2" y="116"/>
                          </a:lnTo>
                          <a:lnTo>
                            <a:pt x="0" y="113"/>
                          </a:lnTo>
                          <a:lnTo>
                            <a:pt x="0" y="113"/>
                          </a:lnTo>
                          <a:lnTo>
                            <a:pt x="0" y="113"/>
                          </a:lnTo>
                          <a:lnTo>
                            <a:pt x="0" y="113"/>
                          </a:lnTo>
                          <a:lnTo>
                            <a:pt x="0" y="111"/>
                          </a:lnTo>
                          <a:lnTo>
                            <a:pt x="0" y="111"/>
                          </a:lnTo>
                          <a:lnTo>
                            <a:pt x="2" y="111"/>
                          </a:lnTo>
                          <a:lnTo>
                            <a:pt x="2" y="111"/>
                          </a:lnTo>
                          <a:lnTo>
                            <a:pt x="4" y="111"/>
                          </a:lnTo>
                          <a:lnTo>
                            <a:pt x="4" y="111"/>
                          </a:lnTo>
                          <a:lnTo>
                            <a:pt x="9" y="104"/>
                          </a:lnTo>
                          <a:lnTo>
                            <a:pt x="9" y="104"/>
                          </a:lnTo>
                          <a:lnTo>
                            <a:pt x="21" y="87"/>
                          </a:lnTo>
                          <a:lnTo>
                            <a:pt x="21" y="87"/>
                          </a:lnTo>
                          <a:lnTo>
                            <a:pt x="21" y="87"/>
                          </a:lnTo>
                          <a:lnTo>
                            <a:pt x="21" y="87"/>
                          </a:lnTo>
                          <a:lnTo>
                            <a:pt x="26" y="76"/>
                          </a:lnTo>
                          <a:lnTo>
                            <a:pt x="26" y="76"/>
                          </a:lnTo>
                          <a:lnTo>
                            <a:pt x="30" y="69"/>
                          </a:lnTo>
                          <a:lnTo>
                            <a:pt x="30" y="69"/>
                          </a:lnTo>
                          <a:lnTo>
                            <a:pt x="33" y="69"/>
                          </a:lnTo>
                          <a:lnTo>
                            <a:pt x="33" y="69"/>
                          </a:lnTo>
                          <a:lnTo>
                            <a:pt x="35" y="64"/>
                          </a:lnTo>
                          <a:lnTo>
                            <a:pt x="35" y="64"/>
                          </a:lnTo>
                          <a:lnTo>
                            <a:pt x="38" y="59"/>
                          </a:lnTo>
                          <a:lnTo>
                            <a:pt x="38" y="59"/>
                          </a:lnTo>
                          <a:lnTo>
                            <a:pt x="40" y="57"/>
                          </a:lnTo>
                          <a:lnTo>
                            <a:pt x="40" y="57"/>
                          </a:lnTo>
                          <a:lnTo>
                            <a:pt x="40" y="54"/>
                          </a:lnTo>
                          <a:lnTo>
                            <a:pt x="40" y="54"/>
                          </a:lnTo>
                          <a:lnTo>
                            <a:pt x="40" y="52"/>
                          </a:lnTo>
                          <a:lnTo>
                            <a:pt x="40" y="52"/>
                          </a:lnTo>
                          <a:lnTo>
                            <a:pt x="38" y="50"/>
                          </a:lnTo>
                          <a:lnTo>
                            <a:pt x="38" y="50"/>
                          </a:lnTo>
                          <a:lnTo>
                            <a:pt x="38" y="50"/>
                          </a:lnTo>
                          <a:lnTo>
                            <a:pt x="38" y="50"/>
                          </a:lnTo>
                          <a:lnTo>
                            <a:pt x="38" y="47"/>
                          </a:lnTo>
                          <a:lnTo>
                            <a:pt x="38" y="47"/>
                          </a:lnTo>
                          <a:lnTo>
                            <a:pt x="40" y="43"/>
                          </a:lnTo>
                          <a:lnTo>
                            <a:pt x="40" y="43"/>
                          </a:lnTo>
                          <a:lnTo>
                            <a:pt x="40" y="43"/>
                          </a:lnTo>
                          <a:lnTo>
                            <a:pt x="40" y="43"/>
                          </a:lnTo>
                          <a:lnTo>
                            <a:pt x="42" y="35"/>
                          </a:lnTo>
                          <a:lnTo>
                            <a:pt x="42" y="35"/>
                          </a:lnTo>
                          <a:lnTo>
                            <a:pt x="42" y="28"/>
                          </a:lnTo>
                          <a:lnTo>
                            <a:pt x="42" y="28"/>
                          </a:lnTo>
                          <a:lnTo>
                            <a:pt x="40" y="21"/>
                          </a:lnTo>
                          <a:lnTo>
                            <a:pt x="40" y="21"/>
                          </a:lnTo>
                          <a:lnTo>
                            <a:pt x="38" y="17"/>
                          </a:lnTo>
                          <a:lnTo>
                            <a:pt x="38" y="17"/>
                          </a:lnTo>
                          <a:lnTo>
                            <a:pt x="35" y="14"/>
                          </a:lnTo>
                          <a:lnTo>
                            <a:pt x="35" y="14"/>
                          </a:lnTo>
                          <a:lnTo>
                            <a:pt x="33" y="2"/>
                          </a:lnTo>
                          <a:lnTo>
                            <a:pt x="33" y="2"/>
                          </a:lnTo>
                          <a:lnTo>
                            <a:pt x="33" y="2"/>
                          </a:lnTo>
                          <a:lnTo>
                            <a:pt x="33" y="2"/>
                          </a:lnTo>
                          <a:lnTo>
                            <a:pt x="33" y="0"/>
                          </a:lnTo>
                          <a:lnTo>
                            <a:pt x="33" y="0"/>
                          </a:lnTo>
                          <a:lnTo>
                            <a:pt x="38" y="0"/>
                          </a:lnTo>
                          <a:lnTo>
                            <a:pt x="38" y="0"/>
                          </a:lnTo>
                          <a:lnTo>
                            <a:pt x="40" y="0"/>
                          </a:lnTo>
                          <a:lnTo>
                            <a:pt x="40" y="0"/>
                          </a:lnTo>
                          <a:lnTo>
                            <a:pt x="42" y="2"/>
                          </a:lnTo>
                          <a:lnTo>
                            <a:pt x="42" y="2"/>
                          </a:lnTo>
                          <a:lnTo>
                            <a:pt x="45" y="2"/>
                          </a:lnTo>
                          <a:lnTo>
                            <a:pt x="45" y="2"/>
                          </a:lnTo>
                          <a:lnTo>
                            <a:pt x="45" y="5"/>
                          </a:lnTo>
                          <a:lnTo>
                            <a:pt x="45" y="5"/>
                          </a:lnTo>
                          <a:lnTo>
                            <a:pt x="47" y="9"/>
                          </a:lnTo>
                          <a:lnTo>
                            <a:pt x="47" y="9"/>
                          </a:lnTo>
                          <a:lnTo>
                            <a:pt x="49" y="9"/>
                          </a:lnTo>
                          <a:lnTo>
                            <a:pt x="49" y="9"/>
                          </a:lnTo>
                          <a:lnTo>
                            <a:pt x="54" y="9"/>
                          </a:lnTo>
                          <a:lnTo>
                            <a:pt x="54" y="9"/>
                          </a:lnTo>
                          <a:lnTo>
                            <a:pt x="54" y="9"/>
                          </a:lnTo>
                          <a:lnTo>
                            <a:pt x="54" y="9"/>
                          </a:lnTo>
                          <a:lnTo>
                            <a:pt x="56" y="7"/>
                          </a:lnTo>
                          <a:lnTo>
                            <a:pt x="56" y="7"/>
                          </a:lnTo>
                          <a:lnTo>
                            <a:pt x="54" y="7"/>
                          </a:lnTo>
                          <a:lnTo>
                            <a:pt x="54" y="7"/>
                          </a:lnTo>
                          <a:lnTo>
                            <a:pt x="56" y="5"/>
                          </a:lnTo>
                          <a:lnTo>
                            <a:pt x="56" y="5"/>
                          </a:lnTo>
                          <a:lnTo>
                            <a:pt x="63" y="5"/>
                          </a:lnTo>
                          <a:lnTo>
                            <a:pt x="63" y="5"/>
                          </a:lnTo>
                          <a:lnTo>
                            <a:pt x="63" y="5"/>
                          </a:lnTo>
                          <a:lnTo>
                            <a:pt x="63" y="5"/>
                          </a:lnTo>
                          <a:lnTo>
                            <a:pt x="68" y="14"/>
                          </a:lnTo>
                          <a:lnTo>
                            <a:pt x="68" y="14"/>
                          </a:lnTo>
                          <a:lnTo>
                            <a:pt x="71" y="28"/>
                          </a:lnTo>
                          <a:lnTo>
                            <a:pt x="71" y="28"/>
                          </a:lnTo>
                          <a:lnTo>
                            <a:pt x="71" y="28"/>
                          </a:lnTo>
                          <a:lnTo>
                            <a:pt x="71" y="28"/>
                          </a:lnTo>
                          <a:lnTo>
                            <a:pt x="71" y="28"/>
                          </a:lnTo>
                          <a:lnTo>
                            <a:pt x="71" y="28"/>
                          </a:lnTo>
                          <a:lnTo>
                            <a:pt x="71" y="28"/>
                          </a:lnTo>
                          <a:lnTo>
                            <a:pt x="71" y="28"/>
                          </a:lnTo>
                          <a:lnTo>
                            <a:pt x="68" y="28"/>
                          </a:lnTo>
                          <a:lnTo>
                            <a:pt x="68" y="28"/>
                          </a:lnTo>
                          <a:lnTo>
                            <a:pt x="68" y="31"/>
                          </a:lnTo>
                          <a:lnTo>
                            <a:pt x="68" y="31"/>
                          </a:lnTo>
                          <a:lnTo>
                            <a:pt x="68" y="35"/>
                          </a:lnTo>
                          <a:lnTo>
                            <a:pt x="68" y="35"/>
                          </a:lnTo>
                          <a:lnTo>
                            <a:pt x="68" y="40"/>
                          </a:lnTo>
                          <a:lnTo>
                            <a:pt x="68" y="40"/>
                          </a:lnTo>
                          <a:lnTo>
                            <a:pt x="68" y="40"/>
                          </a:lnTo>
                          <a:lnTo>
                            <a:pt x="68" y="40"/>
                          </a:lnTo>
                          <a:lnTo>
                            <a:pt x="68" y="43"/>
                          </a:lnTo>
                          <a:lnTo>
                            <a:pt x="68" y="43"/>
                          </a:lnTo>
                          <a:lnTo>
                            <a:pt x="71" y="43"/>
                          </a:lnTo>
                          <a:lnTo>
                            <a:pt x="71" y="43"/>
                          </a:lnTo>
                          <a:lnTo>
                            <a:pt x="73" y="47"/>
                          </a:lnTo>
                          <a:lnTo>
                            <a:pt x="73" y="47"/>
                          </a:lnTo>
                          <a:lnTo>
                            <a:pt x="78" y="64"/>
                          </a:lnTo>
                          <a:lnTo>
                            <a:pt x="78" y="64"/>
                          </a:lnTo>
                          <a:lnTo>
                            <a:pt x="80" y="69"/>
                          </a:lnTo>
                          <a:lnTo>
                            <a:pt x="80" y="69"/>
                          </a:lnTo>
                          <a:lnTo>
                            <a:pt x="82" y="69"/>
                          </a:lnTo>
                          <a:lnTo>
                            <a:pt x="82" y="69"/>
                          </a:lnTo>
                          <a:lnTo>
                            <a:pt x="85" y="71"/>
                          </a:lnTo>
                          <a:lnTo>
                            <a:pt x="85" y="71"/>
                          </a:lnTo>
                          <a:lnTo>
                            <a:pt x="87" y="78"/>
                          </a:lnTo>
                          <a:lnTo>
                            <a:pt x="87" y="78"/>
                          </a:lnTo>
                          <a:lnTo>
                            <a:pt x="92" y="85"/>
                          </a:lnTo>
                          <a:lnTo>
                            <a:pt x="92" y="85"/>
                          </a:lnTo>
                          <a:lnTo>
                            <a:pt x="94" y="87"/>
                          </a:lnTo>
                          <a:lnTo>
                            <a:pt x="94" y="87"/>
                          </a:lnTo>
                          <a:lnTo>
                            <a:pt x="97" y="87"/>
                          </a:lnTo>
                          <a:lnTo>
                            <a:pt x="97" y="87"/>
                          </a:lnTo>
                          <a:lnTo>
                            <a:pt x="97" y="87"/>
                          </a:lnTo>
                          <a:lnTo>
                            <a:pt x="97" y="87"/>
                          </a:lnTo>
                          <a:lnTo>
                            <a:pt x="99" y="92"/>
                          </a:lnTo>
                          <a:lnTo>
                            <a:pt x="99" y="92"/>
                          </a:lnTo>
                          <a:lnTo>
                            <a:pt x="101" y="95"/>
                          </a:lnTo>
                          <a:lnTo>
                            <a:pt x="101" y="95"/>
                          </a:lnTo>
                          <a:lnTo>
                            <a:pt x="101" y="104"/>
                          </a:lnTo>
                          <a:lnTo>
                            <a:pt x="101" y="104"/>
                          </a:lnTo>
                          <a:lnTo>
                            <a:pt x="101" y="109"/>
                          </a:lnTo>
                          <a:lnTo>
                            <a:pt x="101" y="109"/>
                          </a:lnTo>
                          <a:lnTo>
                            <a:pt x="99" y="111"/>
                          </a:lnTo>
                          <a:lnTo>
                            <a:pt x="99" y="111"/>
                          </a:lnTo>
                          <a:lnTo>
                            <a:pt x="99" y="111"/>
                          </a:lnTo>
                          <a:lnTo>
                            <a:pt x="99" y="111"/>
                          </a:lnTo>
                          <a:lnTo>
                            <a:pt x="99" y="113"/>
                          </a:lnTo>
                          <a:lnTo>
                            <a:pt x="99" y="113"/>
                          </a:lnTo>
                          <a:lnTo>
                            <a:pt x="101" y="123"/>
                          </a:lnTo>
                          <a:lnTo>
                            <a:pt x="101" y="123"/>
                          </a:lnTo>
                          <a:lnTo>
                            <a:pt x="101" y="128"/>
                          </a:lnTo>
                          <a:lnTo>
                            <a:pt x="101" y="128"/>
                          </a:lnTo>
                          <a:lnTo>
                            <a:pt x="104" y="128"/>
                          </a:lnTo>
                          <a:lnTo>
                            <a:pt x="104" y="128"/>
                          </a:lnTo>
                          <a:lnTo>
                            <a:pt x="104" y="128"/>
                          </a:lnTo>
                          <a:lnTo>
                            <a:pt x="104" y="128"/>
                          </a:lnTo>
                          <a:lnTo>
                            <a:pt x="106" y="130"/>
                          </a:lnTo>
                          <a:lnTo>
                            <a:pt x="106" y="130"/>
                          </a:lnTo>
                          <a:lnTo>
                            <a:pt x="106" y="135"/>
                          </a:lnTo>
                          <a:lnTo>
                            <a:pt x="106" y="135"/>
                          </a:lnTo>
                          <a:lnTo>
                            <a:pt x="104" y="139"/>
                          </a:lnTo>
                          <a:lnTo>
                            <a:pt x="104" y="139"/>
                          </a:lnTo>
                          <a:lnTo>
                            <a:pt x="101" y="142"/>
                          </a:lnTo>
                          <a:lnTo>
                            <a:pt x="101" y="142"/>
                          </a:lnTo>
                          <a:lnTo>
                            <a:pt x="89" y="149"/>
                          </a:lnTo>
                          <a:lnTo>
                            <a:pt x="89" y="149"/>
                          </a:lnTo>
                          <a:lnTo>
                            <a:pt x="89" y="149"/>
                          </a:lnTo>
                          <a:lnTo>
                            <a:pt x="89" y="149"/>
                          </a:lnTo>
                          <a:lnTo>
                            <a:pt x="87" y="149"/>
                          </a:lnTo>
                          <a:lnTo>
                            <a:pt x="87" y="149"/>
                          </a:lnTo>
                          <a:lnTo>
                            <a:pt x="85" y="158"/>
                          </a:lnTo>
                          <a:lnTo>
                            <a:pt x="85" y="158"/>
                          </a:lnTo>
                          <a:lnTo>
                            <a:pt x="85" y="158"/>
                          </a:lnTo>
                          <a:lnTo>
                            <a:pt x="85" y="158"/>
                          </a:lnTo>
                          <a:lnTo>
                            <a:pt x="85" y="158"/>
                          </a:lnTo>
                          <a:lnTo>
                            <a:pt x="85" y="158"/>
                          </a:lnTo>
                          <a:lnTo>
                            <a:pt x="87" y="161"/>
                          </a:lnTo>
                          <a:lnTo>
                            <a:pt x="87" y="161"/>
                          </a:lnTo>
                          <a:lnTo>
                            <a:pt x="89" y="161"/>
                          </a:lnTo>
                          <a:lnTo>
                            <a:pt x="89" y="161"/>
                          </a:lnTo>
                          <a:lnTo>
                            <a:pt x="89" y="161"/>
                          </a:lnTo>
                          <a:lnTo>
                            <a:pt x="89" y="161"/>
                          </a:lnTo>
                          <a:lnTo>
                            <a:pt x="89" y="163"/>
                          </a:lnTo>
                          <a:lnTo>
                            <a:pt x="89" y="163"/>
                          </a:lnTo>
                          <a:lnTo>
                            <a:pt x="89" y="165"/>
                          </a:lnTo>
                          <a:lnTo>
                            <a:pt x="89" y="165"/>
                          </a:lnTo>
                          <a:lnTo>
                            <a:pt x="89" y="165"/>
                          </a:lnTo>
                          <a:lnTo>
                            <a:pt x="89" y="165"/>
                          </a:lnTo>
                          <a:lnTo>
                            <a:pt x="85" y="168"/>
                          </a:lnTo>
                          <a:lnTo>
                            <a:pt x="85" y="168"/>
                          </a:lnTo>
                          <a:lnTo>
                            <a:pt x="85" y="168"/>
                          </a:lnTo>
                          <a:lnTo>
                            <a:pt x="85" y="168"/>
                          </a:lnTo>
                          <a:lnTo>
                            <a:pt x="82" y="165"/>
                          </a:lnTo>
                          <a:lnTo>
                            <a:pt x="82" y="165"/>
                          </a:lnTo>
                          <a:lnTo>
                            <a:pt x="82" y="163"/>
                          </a:lnTo>
                          <a:lnTo>
                            <a:pt x="82" y="163"/>
                          </a:lnTo>
                          <a:lnTo>
                            <a:pt x="82" y="163"/>
                          </a:lnTo>
                          <a:lnTo>
                            <a:pt x="82" y="163"/>
                          </a:lnTo>
                          <a:lnTo>
                            <a:pt x="78" y="163"/>
                          </a:lnTo>
                          <a:lnTo>
                            <a:pt x="78" y="163"/>
                          </a:lnTo>
                          <a:lnTo>
                            <a:pt x="75" y="165"/>
                          </a:lnTo>
                          <a:lnTo>
                            <a:pt x="75" y="165"/>
                          </a:lnTo>
                          <a:lnTo>
                            <a:pt x="73" y="165"/>
                          </a:lnTo>
                          <a:lnTo>
                            <a:pt x="73" y="165"/>
                          </a:lnTo>
                          <a:lnTo>
                            <a:pt x="73" y="165"/>
                          </a:lnTo>
                          <a:lnTo>
                            <a:pt x="73" y="165"/>
                          </a:lnTo>
                          <a:lnTo>
                            <a:pt x="71" y="163"/>
                          </a:lnTo>
                          <a:lnTo>
                            <a:pt x="71" y="163"/>
                          </a:lnTo>
                          <a:lnTo>
                            <a:pt x="71" y="163"/>
                          </a:lnTo>
                          <a:lnTo>
                            <a:pt x="71" y="163"/>
                          </a:lnTo>
                          <a:lnTo>
                            <a:pt x="66" y="165"/>
                          </a:lnTo>
                          <a:lnTo>
                            <a:pt x="66" y="165"/>
                          </a:lnTo>
                          <a:lnTo>
                            <a:pt x="61" y="168"/>
                          </a:lnTo>
                          <a:lnTo>
                            <a:pt x="61" y="168"/>
                          </a:lnTo>
                          <a:lnTo>
                            <a:pt x="61" y="168"/>
                          </a:lnTo>
                          <a:lnTo>
                            <a:pt x="61" y="168"/>
                          </a:lnTo>
                          <a:lnTo>
                            <a:pt x="61" y="170"/>
                          </a:lnTo>
                          <a:lnTo>
                            <a:pt x="61" y="170"/>
                          </a:lnTo>
                          <a:lnTo>
                            <a:pt x="61" y="170"/>
                          </a:lnTo>
                          <a:lnTo>
                            <a:pt x="61" y="170"/>
                          </a:lnTo>
                          <a:lnTo>
                            <a:pt x="63" y="175"/>
                          </a:lnTo>
                          <a:lnTo>
                            <a:pt x="63" y="175"/>
                          </a:lnTo>
                          <a:lnTo>
                            <a:pt x="66" y="175"/>
                          </a:lnTo>
                          <a:lnTo>
                            <a:pt x="66" y="175"/>
                          </a:lnTo>
                          <a:lnTo>
                            <a:pt x="68" y="172"/>
                          </a:lnTo>
                          <a:lnTo>
                            <a:pt x="68" y="172"/>
                          </a:lnTo>
                          <a:lnTo>
                            <a:pt x="71" y="172"/>
                          </a:lnTo>
                          <a:lnTo>
                            <a:pt x="71" y="172"/>
                          </a:lnTo>
                          <a:lnTo>
                            <a:pt x="73" y="175"/>
                          </a:lnTo>
                          <a:lnTo>
                            <a:pt x="73" y="175"/>
                          </a:lnTo>
                          <a:lnTo>
                            <a:pt x="78" y="177"/>
                          </a:lnTo>
                          <a:lnTo>
                            <a:pt x="78" y="177"/>
                          </a:lnTo>
                          <a:lnTo>
                            <a:pt x="78" y="177"/>
                          </a:lnTo>
                          <a:lnTo>
                            <a:pt x="78" y="177"/>
                          </a:lnTo>
                          <a:lnTo>
                            <a:pt x="75" y="177"/>
                          </a:lnTo>
                          <a:lnTo>
                            <a:pt x="75" y="177"/>
                          </a:lnTo>
                          <a:lnTo>
                            <a:pt x="73" y="182"/>
                          </a:lnTo>
                          <a:lnTo>
                            <a:pt x="73" y="182"/>
                          </a:lnTo>
                          <a:lnTo>
                            <a:pt x="73" y="182"/>
                          </a:lnTo>
                          <a:lnTo>
                            <a:pt x="73" y="182"/>
                          </a:lnTo>
                          <a:lnTo>
                            <a:pt x="73" y="184"/>
                          </a:lnTo>
                          <a:lnTo>
                            <a:pt x="73" y="184"/>
                          </a:lnTo>
                          <a:lnTo>
                            <a:pt x="73" y="184"/>
                          </a:lnTo>
                          <a:lnTo>
                            <a:pt x="73" y="184"/>
                          </a:lnTo>
                          <a:lnTo>
                            <a:pt x="75" y="184"/>
                          </a:lnTo>
                          <a:lnTo>
                            <a:pt x="75" y="184"/>
                          </a:lnTo>
                          <a:lnTo>
                            <a:pt x="85" y="177"/>
                          </a:lnTo>
                          <a:lnTo>
                            <a:pt x="85" y="177"/>
                          </a:lnTo>
                          <a:lnTo>
                            <a:pt x="85" y="177"/>
                          </a:lnTo>
                          <a:lnTo>
                            <a:pt x="85" y="177"/>
                          </a:lnTo>
                          <a:lnTo>
                            <a:pt x="87" y="177"/>
                          </a:lnTo>
                          <a:lnTo>
                            <a:pt x="87" y="177"/>
                          </a:lnTo>
                          <a:lnTo>
                            <a:pt x="89" y="177"/>
                          </a:lnTo>
                          <a:lnTo>
                            <a:pt x="89" y="177"/>
                          </a:lnTo>
                          <a:lnTo>
                            <a:pt x="92" y="170"/>
                          </a:lnTo>
                          <a:lnTo>
                            <a:pt x="92" y="170"/>
                          </a:lnTo>
                          <a:lnTo>
                            <a:pt x="97" y="168"/>
                          </a:lnTo>
                          <a:lnTo>
                            <a:pt x="97" y="168"/>
                          </a:lnTo>
                          <a:lnTo>
                            <a:pt x="97" y="161"/>
                          </a:lnTo>
                          <a:lnTo>
                            <a:pt x="97" y="161"/>
                          </a:lnTo>
                          <a:lnTo>
                            <a:pt x="99" y="156"/>
                          </a:lnTo>
                          <a:lnTo>
                            <a:pt x="99" y="156"/>
                          </a:lnTo>
                          <a:lnTo>
                            <a:pt x="106" y="149"/>
                          </a:lnTo>
                          <a:lnTo>
                            <a:pt x="106" y="149"/>
                          </a:lnTo>
                          <a:lnTo>
                            <a:pt x="106" y="149"/>
                          </a:lnTo>
                          <a:lnTo>
                            <a:pt x="106" y="149"/>
                          </a:lnTo>
                          <a:lnTo>
                            <a:pt x="106" y="149"/>
                          </a:lnTo>
                          <a:lnTo>
                            <a:pt x="106" y="149"/>
                          </a:lnTo>
                          <a:lnTo>
                            <a:pt x="111" y="163"/>
                          </a:lnTo>
                          <a:lnTo>
                            <a:pt x="111" y="163"/>
                          </a:lnTo>
                          <a:lnTo>
                            <a:pt x="101" y="172"/>
                          </a:lnTo>
                          <a:lnTo>
                            <a:pt x="101" y="172"/>
                          </a:lnTo>
                          <a:lnTo>
                            <a:pt x="97" y="175"/>
                          </a:lnTo>
                          <a:lnTo>
                            <a:pt x="97" y="175"/>
                          </a:lnTo>
                          <a:lnTo>
                            <a:pt x="92" y="177"/>
                          </a:lnTo>
                          <a:lnTo>
                            <a:pt x="92" y="177"/>
                          </a:lnTo>
                          <a:lnTo>
                            <a:pt x="92" y="177"/>
                          </a:lnTo>
                          <a:lnTo>
                            <a:pt x="92" y="177"/>
                          </a:lnTo>
                          <a:lnTo>
                            <a:pt x="92" y="182"/>
                          </a:lnTo>
                          <a:lnTo>
                            <a:pt x="92" y="182"/>
                          </a:lnTo>
                          <a:lnTo>
                            <a:pt x="94" y="187"/>
                          </a:lnTo>
                          <a:lnTo>
                            <a:pt x="94" y="187"/>
                          </a:lnTo>
                          <a:lnTo>
                            <a:pt x="94" y="187"/>
                          </a:lnTo>
                          <a:lnTo>
                            <a:pt x="94" y="187"/>
                          </a:lnTo>
                          <a:lnTo>
                            <a:pt x="94" y="187"/>
                          </a:lnTo>
                          <a:lnTo>
                            <a:pt x="94" y="187"/>
                          </a:lnTo>
                          <a:lnTo>
                            <a:pt x="97" y="187"/>
                          </a:lnTo>
                          <a:lnTo>
                            <a:pt x="97" y="187"/>
                          </a:lnTo>
                          <a:lnTo>
                            <a:pt x="97" y="184"/>
                          </a:lnTo>
                          <a:lnTo>
                            <a:pt x="97" y="184"/>
                          </a:lnTo>
                          <a:lnTo>
                            <a:pt x="97" y="182"/>
                          </a:lnTo>
                          <a:lnTo>
                            <a:pt x="97" y="182"/>
                          </a:lnTo>
                          <a:lnTo>
                            <a:pt x="97" y="180"/>
                          </a:lnTo>
                          <a:lnTo>
                            <a:pt x="97" y="180"/>
                          </a:lnTo>
                          <a:lnTo>
                            <a:pt x="99" y="177"/>
                          </a:lnTo>
                          <a:lnTo>
                            <a:pt x="99" y="177"/>
                          </a:lnTo>
                          <a:lnTo>
                            <a:pt x="108" y="172"/>
                          </a:lnTo>
                          <a:lnTo>
                            <a:pt x="108" y="172"/>
                          </a:lnTo>
                          <a:lnTo>
                            <a:pt x="113" y="170"/>
                          </a:lnTo>
                          <a:lnTo>
                            <a:pt x="113" y="170"/>
                          </a:lnTo>
                          <a:lnTo>
                            <a:pt x="113" y="172"/>
                          </a:lnTo>
                          <a:lnTo>
                            <a:pt x="113" y="172"/>
                          </a:lnTo>
                          <a:lnTo>
                            <a:pt x="115" y="180"/>
                          </a:lnTo>
                          <a:lnTo>
                            <a:pt x="115" y="180"/>
                          </a:lnTo>
                          <a:lnTo>
                            <a:pt x="113" y="203"/>
                          </a:lnTo>
                          <a:lnTo>
                            <a:pt x="113" y="203"/>
                          </a:lnTo>
                          <a:lnTo>
                            <a:pt x="108" y="206"/>
                          </a:lnTo>
                          <a:lnTo>
                            <a:pt x="108" y="206"/>
                          </a:lnTo>
                          <a:lnTo>
                            <a:pt x="108" y="208"/>
                          </a:lnTo>
                          <a:lnTo>
                            <a:pt x="108" y="208"/>
                          </a:lnTo>
                          <a:lnTo>
                            <a:pt x="106" y="213"/>
                          </a:lnTo>
                          <a:lnTo>
                            <a:pt x="106" y="213"/>
                          </a:lnTo>
                          <a:lnTo>
                            <a:pt x="106" y="220"/>
                          </a:lnTo>
                          <a:lnTo>
                            <a:pt x="106" y="220"/>
                          </a:lnTo>
                          <a:lnTo>
                            <a:pt x="106" y="220"/>
                          </a:lnTo>
                          <a:lnTo>
                            <a:pt x="106" y="220"/>
                          </a:lnTo>
                          <a:lnTo>
                            <a:pt x="106" y="220"/>
                          </a:lnTo>
                          <a:lnTo>
                            <a:pt x="106" y="220"/>
                          </a:lnTo>
                          <a:lnTo>
                            <a:pt x="106" y="220"/>
                          </a:lnTo>
                          <a:lnTo>
                            <a:pt x="106" y="220"/>
                          </a:lnTo>
                          <a:lnTo>
                            <a:pt x="108" y="220"/>
                          </a:lnTo>
                          <a:lnTo>
                            <a:pt x="108" y="220"/>
                          </a:lnTo>
                          <a:lnTo>
                            <a:pt x="111" y="215"/>
                          </a:lnTo>
                          <a:lnTo>
                            <a:pt x="111" y="215"/>
                          </a:lnTo>
                          <a:lnTo>
                            <a:pt x="115" y="203"/>
                          </a:lnTo>
                          <a:lnTo>
                            <a:pt x="115" y="203"/>
                          </a:lnTo>
                          <a:lnTo>
                            <a:pt x="118" y="201"/>
                          </a:lnTo>
                          <a:lnTo>
                            <a:pt x="118" y="201"/>
                          </a:lnTo>
                          <a:lnTo>
                            <a:pt x="118" y="198"/>
                          </a:lnTo>
                          <a:lnTo>
                            <a:pt x="118" y="198"/>
                          </a:lnTo>
                          <a:lnTo>
                            <a:pt x="118" y="194"/>
                          </a:lnTo>
                          <a:lnTo>
                            <a:pt x="118" y="194"/>
                          </a:lnTo>
                          <a:lnTo>
                            <a:pt x="118" y="191"/>
                          </a:lnTo>
                          <a:lnTo>
                            <a:pt x="118" y="191"/>
                          </a:lnTo>
                          <a:lnTo>
                            <a:pt x="118" y="189"/>
                          </a:lnTo>
                          <a:lnTo>
                            <a:pt x="118" y="189"/>
                          </a:lnTo>
                          <a:lnTo>
                            <a:pt x="120" y="187"/>
                          </a:lnTo>
                          <a:lnTo>
                            <a:pt x="120" y="187"/>
                          </a:lnTo>
                          <a:lnTo>
                            <a:pt x="123" y="187"/>
                          </a:lnTo>
                          <a:lnTo>
                            <a:pt x="123" y="187"/>
                          </a:lnTo>
                          <a:lnTo>
                            <a:pt x="123" y="187"/>
                          </a:lnTo>
                          <a:lnTo>
                            <a:pt x="123" y="187"/>
                          </a:lnTo>
                          <a:lnTo>
                            <a:pt x="123" y="187"/>
                          </a:lnTo>
                          <a:lnTo>
                            <a:pt x="123" y="187"/>
                          </a:lnTo>
                          <a:lnTo>
                            <a:pt x="123" y="189"/>
                          </a:lnTo>
                          <a:lnTo>
                            <a:pt x="123" y="189"/>
                          </a:lnTo>
                          <a:lnTo>
                            <a:pt x="123" y="189"/>
                          </a:lnTo>
                          <a:lnTo>
                            <a:pt x="123" y="189"/>
                          </a:lnTo>
                          <a:lnTo>
                            <a:pt x="125" y="198"/>
                          </a:lnTo>
                          <a:lnTo>
                            <a:pt x="125" y="198"/>
                          </a:lnTo>
                          <a:lnTo>
                            <a:pt x="127" y="201"/>
                          </a:lnTo>
                          <a:lnTo>
                            <a:pt x="127" y="201"/>
                          </a:lnTo>
                          <a:lnTo>
                            <a:pt x="127" y="201"/>
                          </a:lnTo>
                          <a:lnTo>
                            <a:pt x="127" y="201"/>
                          </a:lnTo>
                          <a:lnTo>
                            <a:pt x="130" y="206"/>
                          </a:lnTo>
                          <a:lnTo>
                            <a:pt x="130" y="206"/>
                          </a:lnTo>
                          <a:lnTo>
                            <a:pt x="130" y="213"/>
                          </a:lnTo>
                          <a:lnTo>
                            <a:pt x="130" y="213"/>
                          </a:lnTo>
                          <a:lnTo>
                            <a:pt x="130" y="215"/>
                          </a:lnTo>
                          <a:lnTo>
                            <a:pt x="130" y="215"/>
                          </a:lnTo>
                          <a:lnTo>
                            <a:pt x="137" y="243"/>
                          </a:lnTo>
                          <a:lnTo>
                            <a:pt x="137" y="243"/>
                          </a:lnTo>
                          <a:lnTo>
                            <a:pt x="137" y="253"/>
                          </a:lnTo>
                          <a:lnTo>
                            <a:pt x="137" y="253"/>
                          </a:lnTo>
                          <a:lnTo>
                            <a:pt x="130" y="274"/>
                          </a:lnTo>
                          <a:lnTo>
                            <a:pt x="130" y="274"/>
                          </a:lnTo>
                          <a:lnTo>
                            <a:pt x="127" y="279"/>
                          </a:lnTo>
                          <a:lnTo>
                            <a:pt x="127" y="279"/>
                          </a:lnTo>
                          <a:lnTo>
                            <a:pt x="125" y="279"/>
                          </a:lnTo>
                          <a:lnTo>
                            <a:pt x="125" y="279"/>
                          </a:lnTo>
                          <a:lnTo>
                            <a:pt x="123" y="279"/>
                          </a:lnTo>
                          <a:lnTo>
                            <a:pt x="123" y="279"/>
                          </a:lnTo>
                          <a:lnTo>
                            <a:pt x="115" y="279"/>
                          </a:lnTo>
                          <a:lnTo>
                            <a:pt x="115" y="279"/>
                          </a:lnTo>
                          <a:lnTo>
                            <a:pt x="113" y="279"/>
                          </a:lnTo>
                          <a:lnTo>
                            <a:pt x="113" y="279"/>
                          </a:lnTo>
                          <a:lnTo>
                            <a:pt x="111" y="276"/>
                          </a:lnTo>
                          <a:lnTo>
                            <a:pt x="111" y="276"/>
                          </a:lnTo>
                          <a:lnTo>
                            <a:pt x="108" y="276"/>
                          </a:lnTo>
                          <a:lnTo>
                            <a:pt x="108" y="276"/>
                          </a:lnTo>
                          <a:lnTo>
                            <a:pt x="108" y="276"/>
                          </a:lnTo>
                          <a:lnTo>
                            <a:pt x="108" y="276"/>
                          </a:lnTo>
                          <a:lnTo>
                            <a:pt x="106" y="276"/>
                          </a:lnTo>
                          <a:lnTo>
                            <a:pt x="106" y="276"/>
                          </a:lnTo>
                          <a:lnTo>
                            <a:pt x="106" y="279"/>
                          </a:lnTo>
                          <a:lnTo>
                            <a:pt x="106" y="279"/>
                          </a:lnTo>
                          <a:lnTo>
                            <a:pt x="108" y="281"/>
                          </a:lnTo>
                          <a:lnTo>
                            <a:pt x="108" y="281"/>
                          </a:lnTo>
                          <a:lnTo>
                            <a:pt x="111" y="281"/>
                          </a:lnTo>
                          <a:lnTo>
                            <a:pt x="111" y="281"/>
                          </a:lnTo>
                          <a:lnTo>
                            <a:pt x="111" y="284"/>
                          </a:lnTo>
                          <a:lnTo>
                            <a:pt x="111" y="284"/>
                          </a:lnTo>
                          <a:lnTo>
                            <a:pt x="111" y="284"/>
                          </a:lnTo>
                          <a:lnTo>
                            <a:pt x="111" y="284"/>
                          </a:lnTo>
                          <a:lnTo>
                            <a:pt x="108" y="286"/>
                          </a:lnTo>
                          <a:lnTo>
                            <a:pt x="108" y="286"/>
                          </a:lnTo>
                          <a:lnTo>
                            <a:pt x="108" y="286"/>
                          </a:lnTo>
                          <a:lnTo>
                            <a:pt x="108" y="286"/>
                          </a:lnTo>
                          <a:lnTo>
                            <a:pt x="108" y="286"/>
                          </a:lnTo>
                          <a:lnTo>
                            <a:pt x="108" y="286"/>
                          </a:lnTo>
                          <a:close/>
                        </a:path>
                      </a:pathLst>
                    </a:custGeom>
                    <a:solidFill>
                      <a:srgbClr val="0070C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97" name="Freeform 1122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129" y="824"/>
                      <a:ext cx="51" cy="22"/>
                    </a:xfrm>
                    <a:custGeom>
                      <a:avLst/>
                      <a:gdLst/>
                      <a:ahLst/>
                      <a:cxnLst>
                        <a:cxn ang="0">
                          <a:pos x="12" y="19"/>
                        </a:cxn>
                        <a:cxn ang="0">
                          <a:pos x="3" y="14"/>
                        </a:cxn>
                        <a:cxn ang="0">
                          <a:pos x="3" y="14"/>
                        </a:cxn>
                        <a:cxn ang="0">
                          <a:pos x="3" y="14"/>
                        </a:cxn>
                        <a:cxn ang="0">
                          <a:pos x="3" y="14"/>
                        </a:cxn>
                        <a:cxn ang="0">
                          <a:pos x="0" y="11"/>
                        </a:cxn>
                        <a:cxn ang="0">
                          <a:pos x="0" y="11"/>
                        </a:cxn>
                        <a:cxn ang="0">
                          <a:pos x="3" y="9"/>
                        </a:cxn>
                        <a:cxn ang="0">
                          <a:pos x="3" y="9"/>
                        </a:cxn>
                        <a:cxn ang="0">
                          <a:pos x="10" y="2"/>
                        </a:cxn>
                        <a:cxn ang="0">
                          <a:pos x="10" y="2"/>
                        </a:cxn>
                        <a:cxn ang="0">
                          <a:pos x="19" y="0"/>
                        </a:cxn>
                        <a:cxn ang="0">
                          <a:pos x="19" y="0"/>
                        </a:cxn>
                        <a:cxn ang="0">
                          <a:pos x="29" y="0"/>
                        </a:cxn>
                        <a:cxn ang="0">
                          <a:pos x="29" y="0"/>
                        </a:cxn>
                        <a:cxn ang="0">
                          <a:pos x="33" y="0"/>
                        </a:cxn>
                        <a:cxn ang="0">
                          <a:pos x="33" y="0"/>
                        </a:cxn>
                        <a:cxn ang="0">
                          <a:pos x="38" y="0"/>
                        </a:cxn>
                        <a:cxn ang="0">
                          <a:pos x="38" y="0"/>
                        </a:cxn>
                        <a:cxn ang="0">
                          <a:pos x="43" y="7"/>
                        </a:cxn>
                        <a:cxn ang="0">
                          <a:pos x="43" y="7"/>
                        </a:cxn>
                        <a:cxn ang="0">
                          <a:pos x="45" y="9"/>
                        </a:cxn>
                        <a:cxn ang="0">
                          <a:pos x="45" y="9"/>
                        </a:cxn>
                        <a:cxn ang="0">
                          <a:pos x="43" y="11"/>
                        </a:cxn>
                        <a:cxn ang="0">
                          <a:pos x="43" y="11"/>
                        </a:cxn>
                        <a:cxn ang="0">
                          <a:pos x="40" y="11"/>
                        </a:cxn>
                        <a:cxn ang="0">
                          <a:pos x="40" y="11"/>
                        </a:cxn>
                        <a:cxn ang="0">
                          <a:pos x="36" y="14"/>
                        </a:cxn>
                        <a:cxn ang="0">
                          <a:pos x="36" y="14"/>
                        </a:cxn>
                        <a:cxn ang="0">
                          <a:pos x="33" y="14"/>
                        </a:cxn>
                        <a:cxn ang="0">
                          <a:pos x="33" y="14"/>
                        </a:cxn>
                        <a:cxn ang="0">
                          <a:pos x="33" y="14"/>
                        </a:cxn>
                        <a:cxn ang="0">
                          <a:pos x="33" y="14"/>
                        </a:cxn>
                        <a:cxn ang="0">
                          <a:pos x="31" y="14"/>
                        </a:cxn>
                        <a:cxn ang="0">
                          <a:pos x="31" y="14"/>
                        </a:cxn>
                        <a:cxn ang="0">
                          <a:pos x="29" y="16"/>
                        </a:cxn>
                        <a:cxn ang="0">
                          <a:pos x="29" y="16"/>
                        </a:cxn>
                        <a:cxn ang="0">
                          <a:pos x="24" y="19"/>
                        </a:cxn>
                        <a:cxn ang="0">
                          <a:pos x="24" y="19"/>
                        </a:cxn>
                        <a:cxn ang="0">
                          <a:pos x="12" y="19"/>
                        </a:cxn>
                        <a:cxn ang="0">
                          <a:pos x="12" y="19"/>
                        </a:cxn>
                        <a:cxn ang="0">
                          <a:pos x="12" y="19"/>
                        </a:cxn>
                        <a:cxn ang="0">
                          <a:pos x="12" y="19"/>
                        </a:cxn>
                      </a:cxnLst>
                      <a:rect l="0" t="0" r="r" b="b"/>
                      <a:pathLst>
                        <a:path w="45" h="19">
                          <a:moveTo>
                            <a:pt x="12" y="19"/>
                          </a:moveTo>
                          <a:lnTo>
                            <a:pt x="3" y="14"/>
                          </a:lnTo>
                          <a:lnTo>
                            <a:pt x="3" y="14"/>
                          </a:lnTo>
                          <a:lnTo>
                            <a:pt x="3" y="14"/>
                          </a:lnTo>
                          <a:lnTo>
                            <a:pt x="3" y="14"/>
                          </a:lnTo>
                          <a:lnTo>
                            <a:pt x="0" y="11"/>
                          </a:lnTo>
                          <a:lnTo>
                            <a:pt x="0" y="11"/>
                          </a:lnTo>
                          <a:lnTo>
                            <a:pt x="3" y="9"/>
                          </a:lnTo>
                          <a:lnTo>
                            <a:pt x="3" y="9"/>
                          </a:lnTo>
                          <a:lnTo>
                            <a:pt x="10" y="2"/>
                          </a:lnTo>
                          <a:lnTo>
                            <a:pt x="10" y="2"/>
                          </a:lnTo>
                          <a:lnTo>
                            <a:pt x="19" y="0"/>
                          </a:lnTo>
                          <a:lnTo>
                            <a:pt x="19" y="0"/>
                          </a:lnTo>
                          <a:lnTo>
                            <a:pt x="29" y="0"/>
                          </a:lnTo>
                          <a:lnTo>
                            <a:pt x="29" y="0"/>
                          </a:lnTo>
                          <a:lnTo>
                            <a:pt x="33" y="0"/>
                          </a:lnTo>
                          <a:lnTo>
                            <a:pt x="33" y="0"/>
                          </a:lnTo>
                          <a:lnTo>
                            <a:pt x="38" y="0"/>
                          </a:lnTo>
                          <a:lnTo>
                            <a:pt x="38" y="0"/>
                          </a:lnTo>
                          <a:lnTo>
                            <a:pt x="43" y="7"/>
                          </a:lnTo>
                          <a:lnTo>
                            <a:pt x="43" y="7"/>
                          </a:lnTo>
                          <a:lnTo>
                            <a:pt x="45" y="9"/>
                          </a:lnTo>
                          <a:lnTo>
                            <a:pt x="45" y="9"/>
                          </a:lnTo>
                          <a:lnTo>
                            <a:pt x="43" y="11"/>
                          </a:lnTo>
                          <a:lnTo>
                            <a:pt x="43" y="11"/>
                          </a:lnTo>
                          <a:lnTo>
                            <a:pt x="40" y="11"/>
                          </a:lnTo>
                          <a:lnTo>
                            <a:pt x="40" y="11"/>
                          </a:lnTo>
                          <a:lnTo>
                            <a:pt x="36" y="14"/>
                          </a:lnTo>
                          <a:lnTo>
                            <a:pt x="36" y="14"/>
                          </a:lnTo>
                          <a:lnTo>
                            <a:pt x="33" y="14"/>
                          </a:lnTo>
                          <a:lnTo>
                            <a:pt x="33" y="14"/>
                          </a:lnTo>
                          <a:lnTo>
                            <a:pt x="33" y="14"/>
                          </a:lnTo>
                          <a:lnTo>
                            <a:pt x="33" y="14"/>
                          </a:lnTo>
                          <a:lnTo>
                            <a:pt x="31" y="14"/>
                          </a:lnTo>
                          <a:lnTo>
                            <a:pt x="31" y="14"/>
                          </a:lnTo>
                          <a:lnTo>
                            <a:pt x="29" y="16"/>
                          </a:lnTo>
                          <a:lnTo>
                            <a:pt x="29" y="16"/>
                          </a:lnTo>
                          <a:lnTo>
                            <a:pt x="24" y="19"/>
                          </a:lnTo>
                          <a:lnTo>
                            <a:pt x="24" y="19"/>
                          </a:lnTo>
                          <a:lnTo>
                            <a:pt x="12" y="19"/>
                          </a:lnTo>
                          <a:lnTo>
                            <a:pt x="12" y="19"/>
                          </a:lnTo>
                          <a:lnTo>
                            <a:pt x="12" y="19"/>
                          </a:lnTo>
                          <a:lnTo>
                            <a:pt x="12" y="19"/>
                          </a:lnTo>
                          <a:close/>
                        </a:path>
                      </a:pathLst>
                    </a:custGeom>
                    <a:solidFill>
                      <a:srgbClr val="0070C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98" name="Freeform 1123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427" y="907"/>
                      <a:ext cx="76" cy="124"/>
                    </a:xfrm>
                    <a:custGeom>
                      <a:avLst/>
                      <a:gdLst/>
                      <a:ahLst/>
                      <a:cxnLst>
                        <a:cxn ang="0">
                          <a:pos x="36" y="106"/>
                        </a:cxn>
                        <a:cxn ang="0">
                          <a:pos x="31" y="101"/>
                        </a:cxn>
                        <a:cxn ang="0">
                          <a:pos x="31" y="101"/>
                        </a:cxn>
                        <a:cxn ang="0">
                          <a:pos x="48" y="92"/>
                        </a:cxn>
                        <a:cxn ang="0">
                          <a:pos x="50" y="90"/>
                        </a:cxn>
                        <a:cxn ang="0">
                          <a:pos x="52" y="87"/>
                        </a:cxn>
                        <a:cxn ang="0">
                          <a:pos x="50" y="85"/>
                        </a:cxn>
                        <a:cxn ang="0">
                          <a:pos x="48" y="75"/>
                        </a:cxn>
                        <a:cxn ang="0">
                          <a:pos x="45" y="75"/>
                        </a:cxn>
                        <a:cxn ang="0">
                          <a:pos x="45" y="75"/>
                        </a:cxn>
                        <a:cxn ang="0">
                          <a:pos x="43" y="75"/>
                        </a:cxn>
                        <a:cxn ang="0">
                          <a:pos x="41" y="71"/>
                        </a:cxn>
                        <a:cxn ang="0">
                          <a:pos x="38" y="66"/>
                        </a:cxn>
                        <a:cxn ang="0">
                          <a:pos x="34" y="59"/>
                        </a:cxn>
                        <a:cxn ang="0">
                          <a:pos x="31" y="54"/>
                        </a:cxn>
                        <a:cxn ang="0">
                          <a:pos x="24" y="33"/>
                        </a:cxn>
                        <a:cxn ang="0">
                          <a:pos x="24" y="31"/>
                        </a:cxn>
                        <a:cxn ang="0">
                          <a:pos x="17" y="24"/>
                        </a:cxn>
                        <a:cxn ang="0">
                          <a:pos x="17" y="21"/>
                        </a:cxn>
                        <a:cxn ang="0">
                          <a:pos x="15" y="19"/>
                        </a:cxn>
                        <a:cxn ang="0">
                          <a:pos x="12" y="14"/>
                        </a:cxn>
                        <a:cxn ang="0">
                          <a:pos x="5" y="9"/>
                        </a:cxn>
                        <a:cxn ang="0">
                          <a:pos x="5" y="9"/>
                        </a:cxn>
                        <a:cxn ang="0">
                          <a:pos x="0" y="7"/>
                        </a:cxn>
                        <a:cxn ang="0">
                          <a:pos x="0" y="2"/>
                        </a:cxn>
                        <a:cxn ang="0">
                          <a:pos x="8" y="0"/>
                        </a:cxn>
                        <a:cxn ang="0">
                          <a:pos x="10" y="2"/>
                        </a:cxn>
                        <a:cxn ang="0">
                          <a:pos x="17" y="7"/>
                        </a:cxn>
                        <a:cxn ang="0">
                          <a:pos x="19" y="9"/>
                        </a:cxn>
                        <a:cxn ang="0">
                          <a:pos x="19" y="14"/>
                        </a:cxn>
                        <a:cxn ang="0">
                          <a:pos x="19" y="19"/>
                        </a:cxn>
                        <a:cxn ang="0">
                          <a:pos x="22" y="26"/>
                        </a:cxn>
                        <a:cxn ang="0">
                          <a:pos x="24" y="28"/>
                        </a:cxn>
                        <a:cxn ang="0">
                          <a:pos x="26" y="33"/>
                        </a:cxn>
                        <a:cxn ang="0">
                          <a:pos x="29" y="42"/>
                        </a:cxn>
                        <a:cxn ang="0">
                          <a:pos x="38" y="59"/>
                        </a:cxn>
                        <a:cxn ang="0">
                          <a:pos x="43" y="66"/>
                        </a:cxn>
                        <a:cxn ang="0">
                          <a:pos x="52" y="73"/>
                        </a:cxn>
                        <a:cxn ang="0">
                          <a:pos x="62" y="92"/>
                        </a:cxn>
                        <a:cxn ang="0">
                          <a:pos x="67" y="104"/>
                        </a:cxn>
                        <a:cxn ang="0">
                          <a:pos x="67" y="104"/>
                        </a:cxn>
                        <a:cxn ang="0">
                          <a:pos x="60" y="101"/>
                        </a:cxn>
                        <a:cxn ang="0">
                          <a:pos x="48" y="104"/>
                        </a:cxn>
                        <a:cxn ang="0">
                          <a:pos x="45" y="104"/>
                        </a:cxn>
                        <a:cxn ang="0">
                          <a:pos x="45" y="106"/>
                        </a:cxn>
                        <a:cxn ang="0">
                          <a:pos x="43" y="109"/>
                        </a:cxn>
                        <a:cxn ang="0">
                          <a:pos x="43" y="109"/>
                        </a:cxn>
                        <a:cxn ang="0">
                          <a:pos x="36" y="106"/>
                        </a:cxn>
                      </a:cxnLst>
                      <a:rect l="0" t="0" r="r" b="b"/>
                      <a:pathLst>
                        <a:path w="67" h="109">
                          <a:moveTo>
                            <a:pt x="36" y="106"/>
                          </a:moveTo>
                          <a:lnTo>
                            <a:pt x="36" y="106"/>
                          </a:lnTo>
                          <a:lnTo>
                            <a:pt x="36" y="106"/>
                          </a:lnTo>
                          <a:lnTo>
                            <a:pt x="31" y="104"/>
                          </a:lnTo>
                          <a:lnTo>
                            <a:pt x="31" y="104"/>
                          </a:lnTo>
                          <a:lnTo>
                            <a:pt x="31" y="101"/>
                          </a:lnTo>
                          <a:lnTo>
                            <a:pt x="31" y="101"/>
                          </a:lnTo>
                          <a:lnTo>
                            <a:pt x="31" y="101"/>
                          </a:lnTo>
                          <a:lnTo>
                            <a:pt x="31" y="101"/>
                          </a:lnTo>
                          <a:lnTo>
                            <a:pt x="36" y="99"/>
                          </a:lnTo>
                          <a:lnTo>
                            <a:pt x="36" y="99"/>
                          </a:lnTo>
                          <a:lnTo>
                            <a:pt x="48" y="92"/>
                          </a:lnTo>
                          <a:lnTo>
                            <a:pt x="48" y="92"/>
                          </a:lnTo>
                          <a:lnTo>
                            <a:pt x="50" y="90"/>
                          </a:lnTo>
                          <a:lnTo>
                            <a:pt x="50" y="90"/>
                          </a:lnTo>
                          <a:lnTo>
                            <a:pt x="50" y="87"/>
                          </a:lnTo>
                          <a:lnTo>
                            <a:pt x="50" y="87"/>
                          </a:lnTo>
                          <a:lnTo>
                            <a:pt x="52" y="87"/>
                          </a:lnTo>
                          <a:lnTo>
                            <a:pt x="52" y="87"/>
                          </a:lnTo>
                          <a:lnTo>
                            <a:pt x="50" y="85"/>
                          </a:lnTo>
                          <a:lnTo>
                            <a:pt x="50" y="85"/>
                          </a:lnTo>
                          <a:lnTo>
                            <a:pt x="50" y="78"/>
                          </a:lnTo>
                          <a:lnTo>
                            <a:pt x="50" y="78"/>
                          </a:lnTo>
                          <a:lnTo>
                            <a:pt x="48" y="75"/>
                          </a:lnTo>
                          <a:lnTo>
                            <a:pt x="48" y="75"/>
                          </a:lnTo>
                          <a:lnTo>
                            <a:pt x="45" y="75"/>
                          </a:lnTo>
                          <a:lnTo>
                            <a:pt x="45" y="75"/>
                          </a:lnTo>
                          <a:lnTo>
                            <a:pt x="45" y="75"/>
                          </a:lnTo>
                          <a:lnTo>
                            <a:pt x="45" y="75"/>
                          </a:lnTo>
                          <a:lnTo>
                            <a:pt x="45" y="75"/>
                          </a:lnTo>
                          <a:lnTo>
                            <a:pt x="45" y="75"/>
                          </a:lnTo>
                          <a:lnTo>
                            <a:pt x="43" y="75"/>
                          </a:lnTo>
                          <a:lnTo>
                            <a:pt x="43" y="75"/>
                          </a:lnTo>
                          <a:lnTo>
                            <a:pt x="41" y="73"/>
                          </a:lnTo>
                          <a:lnTo>
                            <a:pt x="41" y="73"/>
                          </a:lnTo>
                          <a:lnTo>
                            <a:pt x="41" y="71"/>
                          </a:lnTo>
                          <a:lnTo>
                            <a:pt x="41" y="71"/>
                          </a:lnTo>
                          <a:lnTo>
                            <a:pt x="38" y="66"/>
                          </a:lnTo>
                          <a:lnTo>
                            <a:pt x="38" y="66"/>
                          </a:lnTo>
                          <a:lnTo>
                            <a:pt x="36" y="61"/>
                          </a:lnTo>
                          <a:lnTo>
                            <a:pt x="36" y="61"/>
                          </a:lnTo>
                          <a:lnTo>
                            <a:pt x="34" y="59"/>
                          </a:lnTo>
                          <a:lnTo>
                            <a:pt x="34" y="59"/>
                          </a:lnTo>
                          <a:lnTo>
                            <a:pt x="31" y="54"/>
                          </a:lnTo>
                          <a:lnTo>
                            <a:pt x="31" y="54"/>
                          </a:lnTo>
                          <a:lnTo>
                            <a:pt x="29" y="47"/>
                          </a:lnTo>
                          <a:lnTo>
                            <a:pt x="29" y="47"/>
                          </a:lnTo>
                          <a:lnTo>
                            <a:pt x="24" y="33"/>
                          </a:lnTo>
                          <a:lnTo>
                            <a:pt x="24" y="33"/>
                          </a:lnTo>
                          <a:lnTo>
                            <a:pt x="24" y="31"/>
                          </a:lnTo>
                          <a:lnTo>
                            <a:pt x="24" y="31"/>
                          </a:lnTo>
                          <a:lnTo>
                            <a:pt x="22" y="31"/>
                          </a:lnTo>
                          <a:lnTo>
                            <a:pt x="22" y="31"/>
                          </a:lnTo>
                          <a:lnTo>
                            <a:pt x="17" y="24"/>
                          </a:lnTo>
                          <a:lnTo>
                            <a:pt x="17" y="24"/>
                          </a:lnTo>
                          <a:lnTo>
                            <a:pt x="17" y="21"/>
                          </a:lnTo>
                          <a:lnTo>
                            <a:pt x="17" y="21"/>
                          </a:lnTo>
                          <a:lnTo>
                            <a:pt x="17" y="19"/>
                          </a:lnTo>
                          <a:lnTo>
                            <a:pt x="17" y="19"/>
                          </a:lnTo>
                          <a:lnTo>
                            <a:pt x="15" y="19"/>
                          </a:lnTo>
                          <a:lnTo>
                            <a:pt x="15" y="19"/>
                          </a:lnTo>
                          <a:lnTo>
                            <a:pt x="12" y="14"/>
                          </a:lnTo>
                          <a:lnTo>
                            <a:pt x="12" y="14"/>
                          </a:lnTo>
                          <a:lnTo>
                            <a:pt x="5" y="9"/>
                          </a:lnTo>
                          <a:lnTo>
                            <a:pt x="5" y="9"/>
                          </a:lnTo>
                          <a:lnTo>
                            <a:pt x="5" y="9"/>
                          </a:lnTo>
                          <a:lnTo>
                            <a:pt x="5" y="9"/>
                          </a:lnTo>
                          <a:lnTo>
                            <a:pt x="5" y="9"/>
                          </a:lnTo>
                          <a:lnTo>
                            <a:pt x="5" y="9"/>
                          </a:lnTo>
                          <a:lnTo>
                            <a:pt x="3" y="9"/>
                          </a:lnTo>
                          <a:lnTo>
                            <a:pt x="3" y="9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8" y="0"/>
                          </a:lnTo>
                          <a:lnTo>
                            <a:pt x="8" y="0"/>
                          </a:lnTo>
                          <a:lnTo>
                            <a:pt x="10" y="2"/>
                          </a:lnTo>
                          <a:lnTo>
                            <a:pt x="10" y="2"/>
                          </a:lnTo>
                          <a:lnTo>
                            <a:pt x="12" y="2"/>
                          </a:lnTo>
                          <a:lnTo>
                            <a:pt x="12" y="2"/>
                          </a:lnTo>
                          <a:lnTo>
                            <a:pt x="17" y="7"/>
                          </a:lnTo>
                          <a:lnTo>
                            <a:pt x="17" y="7"/>
                          </a:lnTo>
                          <a:lnTo>
                            <a:pt x="19" y="9"/>
                          </a:lnTo>
                          <a:lnTo>
                            <a:pt x="19" y="9"/>
                          </a:lnTo>
                          <a:lnTo>
                            <a:pt x="19" y="12"/>
                          </a:lnTo>
                          <a:lnTo>
                            <a:pt x="19" y="12"/>
                          </a:lnTo>
                          <a:lnTo>
                            <a:pt x="19" y="14"/>
                          </a:lnTo>
                          <a:lnTo>
                            <a:pt x="19" y="14"/>
                          </a:lnTo>
                          <a:lnTo>
                            <a:pt x="19" y="19"/>
                          </a:lnTo>
                          <a:lnTo>
                            <a:pt x="19" y="19"/>
                          </a:lnTo>
                          <a:lnTo>
                            <a:pt x="19" y="21"/>
                          </a:lnTo>
                          <a:lnTo>
                            <a:pt x="19" y="21"/>
                          </a:lnTo>
                          <a:lnTo>
                            <a:pt x="22" y="26"/>
                          </a:lnTo>
                          <a:lnTo>
                            <a:pt x="22" y="26"/>
                          </a:lnTo>
                          <a:lnTo>
                            <a:pt x="24" y="28"/>
                          </a:lnTo>
                          <a:lnTo>
                            <a:pt x="24" y="28"/>
                          </a:lnTo>
                          <a:lnTo>
                            <a:pt x="26" y="31"/>
                          </a:lnTo>
                          <a:lnTo>
                            <a:pt x="26" y="31"/>
                          </a:lnTo>
                          <a:lnTo>
                            <a:pt x="26" y="33"/>
                          </a:lnTo>
                          <a:lnTo>
                            <a:pt x="26" y="33"/>
                          </a:lnTo>
                          <a:lnTo>
                            <a:pt x="29" y="42"/>
                          </a:lnTo>
                          <a:lnTo>
                            <a:pt x="29" y="42"/>
                          </a:lnTo>
                          <a:lnTo>
                            <a:pt x="34" y="52"/>
                          </a:lnTo>
                          <a:lnTo>
                            <a:pt x="34" y="52"/>
                          </a:lnTo>
                          <a:lnTo>
                            <a:pt x="38" y="59"/>
                          </a:lnTo>
                          <a:lnTo>
                            <a:pt x="38" y="59"/>
                          </a:lnTo>
                          <a:lnTo>
                            <a:pt x="43" y="66"/>
                          </a:lnTo>
                          <a:lnTo>
                            <a:pt x="43" y="66"/>
                          </a:lnTo>
                          <a:lnTo>
                            <a:pt x="45" y="66"/>
                          </a:lnTo>
                          <a:lnTo>
                            <a:pt x="45" y="66"/>
                          </a:lnTo>
                          <a:lnTo>
                            <a:pt x="52" y="73"/>
                          </a:lnTo>
                          <a:lnTo>
                            <a:pt x="52" y="73"/>
                          </a:lnTo>
                          <a:lnTo>
                            <a:pt x="62" y="92"/>
                          </a:lnTo>
                          <a:lnTo>
                            <a:pt x="62" y="92"/>
                          </a:lnTo>
                          <a:lnTo>
                            <a:pt x="64" y="101"/>
                          </a:lnTo>
                          <a:lnTo>
                            <a:pt x="64" y="101"/>
                          </a:lnTo>
                          <a:lnTo>
                            <a:pt x="67" y="104"/>
                          </a:lnTo>
                          <a:lnTo>
                            <a:pt x="67" y="104"/>
                          </a:lnTo>
                          <a:lnTo>
                            <a:pt x="67" y="104"/>
                          </a:lnTo>
                          <a:lnTo>
                            <a:pt x="67" y="104"/>
                          </a:lnTo>
                          <a:lnTo>
                            <a:pt x="64" y="104"/>
                          </a:lnTo>
                          <a:lnTo>
                            <a:pt x="64" y="104"/>
                          </a:lnTo>
                          <a:lnTo>
                            <a:pt x="60" y="101"/>
                          </a:lnTo>
                          <a:lnTo>
                            <a:pt x="60" y="101"/>
                          </a:lnTo>
                          <a:lnTo>
                            <a:pt x="48" y="104"/>
                          </a:lnTo>
                          <a:lnTo>
                            <a:pt x="48" y="104"/>
                          </a:lnTo>
                          <a:lnTo>
                            <a:pt x="45" y="104"/>
                          </a:lnTo>
                          <a:lnTo>
                            <a:pt x="45" y="104"/>
                          </a:lnTo>
                          <a:lnTo>
                            <a:pt x="45" y="104"/>
                          </a:lnTo>
                          <a:lnTo>
                            <a:pt x="45" y="104"/>
                          </a:lnTo>
                          <a:lnTo>
                            <a:pt x="45" y="106"/>
                          </a:lnTo>
                          <a:lnTo>
                            <a:pt x="45" y="106"/>
                          </a:lnTo>
                          <a:lnTo>
                            <a:pt x="43" y="109"/>
                          </a:lnTo>
                          <a:lnTo>
                            <a:pt x="43" y="109"/>
                          </a:lnTo>
                          <a:lnTo>
                            <a:pt x="43" y="109"/>
                          </a:lnTo>
                          <a:lnTo>
                            <a:pt x="43" y="109"/>
                          </a:lnTo>
                          <a:lnTo>
                            <a:pt x="43" y="109"/>
                          </a:lnTo>
                          <a:lnTo>
                            <a:pt x="43" y="109"/>
                          </a:lnTo>
                          <a:lnTo>
                            <a:pt x="36" y="106"/>
                          </a:lnTo>
                          <a:lnTo>
                            <a:pt x="36" y="106"/>
                          </a:lnTo>
                          <a:lnTo>
                            <a:pt x="36" y="106"/>
                          </a:lnTo>
                          <a:lnTo>
                            <a:pt x="36" y="106"/>
                          </a:lnTo>
                          <a:close/>
                        </a:path>
                      </a:pathLst>
                    </a:custGeom>
                    <a:solidFill>
                      <a:srgbClr val="0070C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99" name="Freeform 1124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981" y="910"/>
                      <a:ext cx="8" cy="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5" y="3"/>
                        </a:cxn>
                        <a:cxn ang="0">
                          <a:pos x="5" y="3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3" y="7"/>
                        </a:cxn>
                        <a:cxn ang="0">
                          <a:pos x="3" y="7"/>
                        </a:cxn>
                        <a:cxn ang="0">
                          <a:pos x="3" y="7"/>
                        </a:cxn>
                        <a:cxn ang="0">
                          <a:pos x="3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</a:cxnLst>
                      <a:rect l="0" t="0" r="r" b="b"/>
                      <a:pathLst>
                        <a:path w="7" h="7">
                          <a:moveTo>
                            <a:pt x="0" y="7"/>
                          </a:move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5" y="3"/>
                          </a:lnTo>
                          <a:lnTo>
                            <a:pt x="5" y="3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3" y="7"/>
                          </a:lnTo>
                          <a:lnTo>
                            <a:pt x="3" y="7"/>
                          </a:lnTo>
                          <a:lnTo>
                            <a:pt x="3" y="7"/>
                          </a:lnTo>
                          <a:lnTo>
                            <a:pt x="3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00" name="Freeform 1125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393" y="929"/>
                      <a:ext cx="13" cy="6"/>
                    </a:xfrm>
                    <a:custGeom>
                      <a:avLst/>
                      <a:gdLst/>
                      <a:ahLst/>
                      <a:cxnLst>
                        <a:cxn ang="0">
                          <a:pos x="4" y="5"/>
                        </a:cxn>
                        <a:cxn ang="0">
                          <a:pos x="2" y="5"/>
                        </a:cxn>
                        <a:cxn ang="0">
                          <a:pos x="2" y="5"/>
                        </a:cxn>
                        <a:cxn ang="0">
                          <a:pos x="2" y="5"/>
                        </a:cxn>
                        <a:cxn ang="0">
                          <a:pos x="2" y="5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12" y="5"/>
                        </a:cxn>
                        <a:cxn ang="0">
                          <a:pos x="12" y="5"/>
                        </a:cxn>
                        <a:cxn ang="0">
                          <a:pos x="12" y="5"/>
                        </a:cxn>
                        <a:cxn ang="0">
                          <a:pos x="12" y="5"/>
                        </a:cxn>
                        <a:cxn ang="0">
                          <a:pos x="12" y="5"/>
                        </a:cxn>
                        <a:cxn ang="0">
                          <a:pos x="12" y="5"/>
                        </a:cxn>
                        <a:cxn ang="0">
                          <a:pos x="12" y="5"/>
                        </a:cxn>
                        <a:cxn ang="0">
                          <a:pos x="12" y="5"/>
                        </a:cxn>
                        <a:cxn ang="0">
                          <a:pos x="9" y="5"/>
                        </a:cxn>
                        <a:cxn ang="0">
                          <a:pos x="9" y="5"/>
                        </a:cxn>
                        <a:cxn ang="0">
                          <a:pos x="9" y="5"/>
                        </a:cxn>
                        <a:cxn ang="0">
                          <a:pos x="9" y="5"/>
                        </a:cxn>
                        <a:cxn ang="0">
                          <a:pos x="9" y="5"/>
                        </a:cxn>
                        <a:cxn ang="0">
                          <a:pos x="9" y="5"/>
                        </a:cxn>
                        <a:cxn ang="0">
                          <a:pos x="9" y="5"/>
                        </a:cxn>
                        <a:cxn ang="0">
                          <a:pos x="9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4" y="5"/>
                        </a:cxn>
                        <a:cxn ang="0">
                          <a:pos x="4" y="5"/>
                        </a:cxn>
                        <a:cxn ang="0">
                          <a:pos x="4" y="5"/>
                        </a:cxn>
                        <a:cxn ang="0">
                          <a:pos x="4" y="5"/>
                        </a:cxn>
                      </a:cxnLst>
                      <a:rect l="0" t="0" r="r" b="b"/>
                      <a:pathLst>
                        <a:path w="12" h="5">
                          <a:moveTo>
                            <a:pt x="4" y="5"/>
                          </a:move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12" y="5"/>
                          </a:lnTo>
                          <a:lnTo>
                            <a:pt x="12" y="5"/>
                          </a:lnTo>
                          <a:lnTo>
                            <a:pt x="12" y="5"/>
                          </a:lnTo>
                          <a:lnTo>
                            <a:pt x="12" y="5"/>
                          </a:lnTo>
                          <a:lnTo>
                            <a:pt x="12" y="5"/>
                          </a:lnTo>
                          <a:lnTo>
                            <a:pt x="12" y="5"/>
                          </a:lnTo>
                          <a:lnTo>
                            <a:pt x="12" y="5"/>
                          </a:lnTo>
                          <a:lnTo>
                            <a:pt x="12" y="5"/>
                          </a:lnTo>
                          <a:lnTo>
                            <a:pt x="9" y="5"/>
                          </a:lnTo>
                          <a:lnTo>
                            <a:pt x="9" y="5"/>
                          </a:lnTo>
                          <a:lnTo>
                            <a:pt x="9" y="5"/>
                          </a:lnTo>
                          <a:lnTo>
                            <a:pt x="9" y="5"/>
                          </a:lnTo>
                          <a:lnTo>
                            <a:pt x="9" y="5"/>
                          </a:lnTo>
                          <a:lnTo>
                            <a:pt x="9" y="5"/>
                          </a:lnTo>
                          <a:lnTo>
                            <a:pt x="9" y="5"/>
                          </a:lnTo>
                          <a:lnTo>
                            <a:pt x="9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4" y="5"/>
                          </a:lnTo>
                          <a:lnTo>
                            <a:pt x="4" y="5"/>
                          </a:lnTo>
                          <a:lnTo>
                            <a:pt x="4" y="5"/>
                          </a:lnTo>
                          <a:lnTo>
                            <a:pt x="4" y="5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01" name="Freeform 1126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277" y="967"/>
                      <a:ext cx="15" cy="21"/>
                    </a:xfrm>
                    <a:custGeom>
                      <a:avLst/>
                      <a:gdLst/>
                      <a:ahLst/>
                      <a:cxnLst>
                        <a:cxn ang="0">
                          <a:pos x="14" y="19"/>
                        </a:cxn>
                        <a:cxn ang="0">
                          <a:pos x="10" y="19"/>
                        </a:cxn>
                        <a:cxn ang="0">
                          <a:pos x="10" y="19"/>
                        </a:cxn>
                        <a:cxn ang="0">
                          <a:pos x="10" y="16"/>
                        </a:cxn>
                        <a:cxn ang="0">
                          <a:pos x="10" y="16"/>
                        </a:cxn>
                        <a:cxn ang="0">
                          <a:pos x="10" y="14"/>
                        </a:cxn>
                        <a:cxn ang="0">
                          <a:pos x="10" y="14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3" y="5"/>
                        </a:cxn>
                        <a:cxn ang="0">
                          <a:pos x="3" y="5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3" y="2"/>
                        </a:cxn>
                        <a:cxn ang="0">
                          <a:pos x="3" y="2"/>
                        </a:cxn>
                        <a:cxn ang="0">
                          <a:pos x="3" y="2"/>
                        </a:cxn>
                        <a:cxn ang="0">
                          <a:pos x="3" y="2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10" y="9"/>
                        </a:cxn>
                        <a:cxn ang="0">
                          <a:pos x="10" y="9"/>
                        </a:cxn>
                        <a:cxn ang="0">
                          <a:pos x="10" y="12"/>
                        </a:cxn>
                        <a:cxn ang="0">
                          <a:pos x="10" y="12"/>
                        </a:cxn>
                        <a:cxn ang="0">
                          <a:pos x="12" y="14"/>
                        </a:cxn>
                        <a:cxn ang="0">
                          <a:pos x="12" y="14"/>
                        </a:cxn>
                        <a:cxn ang="0">
                          <a:pos x="14" y="14"/>
                        </a:cxn>
                        <a:cxn ang="0">
                          <a:pos x="14" y="14"/>
                        </a:cxn>
                        <a:cxn ang="0">
                          <a:pos x="14" y="19"/>
                        </a:cxn>
                        <a:cxn ang="0">
                          <a:pos x="14" y="19"/>
                        </a:cxn>
                        <a:cxn ang="0">
                          <a:pos x="14" y="19"/>
                        </a:cxn>
                        <a:cxn ang="0">
                          <a:pos x="14" y="19"/>
                        </a:cxn>
                        <a:cxn ang="0">
                          <a:pos x="14" y="19"/>
                        </a:cxn>
                        <a:cxn ang="0">
                          <a:pos x="14" y="19"/>
                        </a:cxn>
                        <a:cxn ang="0">
                          <a:pos x="14" y="19"/>
                        </a:cxn>
                        <a:cxn ang="0">
                          <a:pos x="14" y="19"/>
                        </a:cxn>
                        <a:cxn ang="0">
                          <a:pos x="14" y="19"/>
                        </a:cxn>
                        <a:cxn ang="0">
                          <a:pos x="14" y="19"/>
                        </a:cxn>
                      </a:cxnLst>
                      <a:rect l="0" t="0" r="r" b="b"/>
                      <a:pathLst>
                        <a:path w="14" h="19">
                          <a:moveTo>
                            <a:pt x="14" y="19"/>
                          </a:moveTo>
                          <a:lnTo>
                            <a:pt x="10" y="19"/>
                          </a:lnTo>
                          <a:lnTo>
                            <a:pt x="10" y="19"/>
                          </a:lnTo>
                          <a:lnTo>
                            <a:pt x="10" y="16"/>
                          </a:lnTo>
                          <a:lnTo>
                            <a:pt x="10" y="16"/>
                          </a:lnTo>
                          <a:lnTo>
                            <a:pt x="10" y="14"/>
                          </a:lnTo>
                          <a:lnTo>
                            <a:pt x="10" y="14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3" y="5"/>
                          </a:lnTo>
                          <a:lnTo>
                            <a:pt x="3" y="5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10" y="9"/>
                          </a:lnTo>
                          <a:lnTo>
                            <a:pt x="10" y="9"/>
                          </a:lnTo>
                          <a:lnTo>
                            <a:pt x="10" y="12"/>
                          </a:lnTo>
                          <a:lnTo>
                            <a:pt x="10" y="12"/>
                          </a:lnTo>
                          <a:lnTo>
                            <a:pt x="12" y="14"/>
                          </a:lnTo>
                          <a:lnTo>
                            <a:pt x="12" y="14"/>
                          </a:lnTo>
                          <a:lnTo>
                            <a:pt x="14" y="14"/>
                          </a:lnTo>
                          <a:lnTo>
                            <a:pt x="14" y="14"/>
                          </a:lnTo>
                          <a:lnTo>
                            <a:pt x="14" y="19"/>
                          </a:lnTo>
                          <a:lnTo>
                            <a:pt x="14" y="19"/>
                          </a:lnTo>
                          <a:lnTo>
                            <a:pt x="14" y="19"/>
                          </a:lnTo>
                          <a:lnTo>
                            <a:pt x="14" y="19"/>
                          </a:lnTo>
                          <a:lnTo>
                            <a:pt x="14" y="19"/>
                          </a:lnTo>
                          <a:lnTo>
                            <a:pt x="14" y="19"/>
                          </a:lnTo>
                          <a:lnTo>
                            <a:pt x="14" y="19"/>
                          </a:lnTo>
                          <a:lnTo>
                            <a:pt x="14" y="19"/>
                          </a:lnTo>
                          <a:lnTo>
                            <a:pt x="14" y="19"/>
                          </a:lnTo>
                          <a:lnTo>
                            <a:pt x="14" y="19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02" name="Freeform 1127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296" y="990"/>
                      <a:ext cx="13" cy="22"/>
                    </a:xfrm>
                    <a:custGeom>
                      <a:avLst/>
                      <a:gdLst/>
                      <a:ahLst/>
                      <a:cxnLst>
                        <a:cxn ang="0">
                          <a:pos x="12" y="19"/>
                        </a:cxn>
                        <a:cxn ang="0">
                          <a:pos x="9" y="19"/>
                        </a:cxn>
                        <a:cxn ang="0">
                          <a:pos x="9" y="19"/>
                        </a:cxn>
                        <a:cxn ang="0">
                          <a:pos x="7" y="17"/>
                        </a:cxn>
                        <a:cxn ang="0">
                          <a:pos x="7" y="17"/>
                        </a:cxn>
                        <a:cxn ang="0">
                          <a:pos x="7" y="17"/>
                        </a:cxn>
                        <a:cxn ang="0">
                          <a:pos x="7" y="17"/>
                        </a:cxn>
                        <a:cxn ang="0">
                          <a:pos x="4" y="12"/>
                        </a:cxn>
                        <a:cxn ang="0">
                          <a:pos x="4" y="12"/>
                        </a:cxn>
                        <a:cxn ang="0">
                          <a:pos x="2" y="10"/>
                        </a:cxn>
                        <a:cxn ang="0">
                          <a:pos x="2" y="10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5"/>
                        </a:cxn>
                        <a:cxn ang="0">
                          <a:pos x="2" y="5"/>
                        </a:cxn>
                        <a:cxn ang="0">
                          <a:pos x="4" y="7"/>
                        </a:cxn>
                        <a:cxn ang="0">
                          <a:pos x="4" y="7"/>
                        </a:cxn>
                        <a:cxn ang="0">
                          <a:pos x="7" y="12"/>
                        </a:cxn>
                        <a:cxn ang="0">
                          <a:pos x="7" y="12"/>
                        </a:cxn>
                        <a:cxn ang="0">
                          <a:pos x="7" y="12"/>
                        </a:cxn>
                        <a:cxn ang="0">
                          <a:pos x="7" y="12"/>
                        </a:cxn>
                        <a:cxn ang="0">
                          <a:pos x="7" y="12"/>
                        </a:cxn>
                        <a:cxn ang="0">
                          <a:pos x="7" y="12"/>
                        </a:cxn>
                        <a:cxn ang="0">
                          <a:pos x="7" y="12"/>
                        </a:cxn>
                        <a:cxn ang="0">
                          <a:pos x="7" y="12"/>
                        </a:cxn>
                        <a:cxn ang="0">
                          <a:pos x="9" y="12"/>
                        </a:cxn>
                        <a:cxn ang="0">
                          <a:pos x="9" y="12"/>
                        </a:cxn>
                        <a:cxn ang="0">
                          <a:pos x="9" y="14"/>
                        </a:cxn>
                        <a:cxn ang="0">
                          <a:pos x="9" y="14"/>
                        </a:cxn>
                        <a:cxn ang="0">
                          <a:pos x="12" y="17"/>
                        </a:cxn>
                        <a:cxn ang="0">
                          <a:pos x="12" y="17"/>
                        </a:cxn>
                        <a:cxn ang="0">
                          <a:pos x="12" y="19"/>
                        </a:cxn>
                        <a:cxn ang="0">
                          <a:pos x="12" y="19"/>
                        </a:cxn>
                        <a:cxn ang="0">
                          <a:pos x="12" y="19"/>
                        </a:cxn>
                        <a:cxn ang="0">
                          <a:pos x="12" y="19"/>
                        </a:cxn>
                        <a:cxn ang="0">
                          <a:pos x="12" y="19"/>
                        </a:cxn>
                        <a:cxn ang="0">
                          <a:pos x="12" y="19"/>
                        </a:cxn>
                        <a:cxn ang="0">
                          <a:pos x="12" y="19"/>
                        </a:cxn>
                        <a:cxn ang="0">
                          <a:pos x="12" y="19"/>
                        </a:cxn>
                      </a:cxnLst>
                      <a:rect l="0" t="0" r="r" b="b"/>
                      <a:pathLst>
                        <a:path w="12" h="19">
                          <a:moveTo>
                            <a:pt x="12" y="19"/>
                          </a:moveTo>
                          <a:lnTo>
                            <a:pt x="9" y="19"/>
                          </a:lnTo>
                          <a:lnTo>
                            <a:pt x="9" y="19"/>
                          </a:lnTo>
                          <a:lnTo>
                            <a:pt x="7" y="17"/>
                          </a:lnTo>
                          <a:lnTo>
                            <a:pt x="7" y="17"/>
                          </a:lnTo>
                          <a:lnTo>
                            <a:pt x="7" y="17"/>
                          </a:lnTo>
                          <a:lnTo>
                            <a:pt x="7" y="17"/>
                          </a:lnTo>
                          <a:lnTo>
                            <a:pt x="4" y="12"/>
                          </a:lnTo>
                          <a:lnTo>
                            <a:pt x="4" y="12"/>
                          </a:lnTo>
                          <a:lnTo>
                            <a:pt x="2" y="10"/>
                          </a:lnTo>
                          <a:lnTo>
                            <a:pt x="2" y="10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4" y="7"/>
                          </a:lnTo>
                          <a:lnTo>
                            <a:pt x="4" y="7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9" y="12"/>
                          </a:lnTo>
                          <a:lnTo>
                            <a:pt x="9" y="12"/>
                          </a:lnTo>
                          <a:lnTo>
                            <a:pt x="9" y="14"/>
                          </a:lnTo>
                          <a:lnTo>
                            <a:pt x="9" y="14"/>
                          </a:lnTo>
                          <a:lnTo>
                            <a:pt x="12" y="17"/>
                          </a:lnTo>
                          <a:lnTo>
                            <a:pt x="12" y="17"/>
                          </a:lnTo>
                          <a:lnTo>
                            <a:pt x="12" y="19"/>
                          </a:lnTo>
                          <a:lnTo>
                            <a:pt x="12" y="19"/>
                          </a:lnTo>
                          <a:lnTo>
                            <a:pt x="12" y="19"/>
                          </a:lnTo>
                          <a:lnTo>
                            <a:pt x="12" y="19"/>
                          </a:lnTo>
                          <a:lnTo>
                            <a:pt x="12" y="19"/>
                          </a:lnTo>
                          <a:lnTo>
                            <a:pt x="12" y="19"/>
                          </a:lnTo>
                          <a:lnTo>
                            <a:pt x="12" y="19"/>
                          </a:lnTo>
                          <a:lnTo>
                            <a:pt x="12" y="19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03" name="Freeform 1128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623" y="1026"/>
                      <a:ext cx="22" cy="40"/>
                    </a:xfrm>
                    <a:custGeom>
                      <a:avLst/>
                      <a:gdLst/>
                      <a:ahLst/>
                      <a:cxnLst>
                        <a:cxn ang="0">
                          <a:pos x="2" y="35"/>
                        </a:cxn>
                        <a:cxn ang="0">
                          <a:pos x="0" y="33"/>
                        </a:cxn>
                        <a:cxn ang="0">
                          <a:pos x="0" y="33"/>
                        </a:cxn>
                        <a:cxn ang="0">
                          <a:pos x="0" y="31"/>
                        </a:cxn>
                        <a:cxn ang="0">
                          <a:pos x="0" y="31"/>
                        </a:cxn>
                        <a:cxn ang="0">
                          <a:pos x="5" y="23"/>
                        </a:cxn>
                        <a:cxn ang="0">
                          <a:pos x="5" y="23"/>
                        </a:cxn>
                        <a:cxn ang="0">
                          <a:pos x="5" y="21"/>
                        </a:cxn>
                        <a:cxn ang="0">
                          <a:pos x="5" y="21"/>
                        </a:cxn>
                        <a:cxn ang="0">
                          <a:pos x="5" y="19"/>
                        </a:cxn>
                        <a:cxn ang="0">
                          <a:pos x="5" y="19"/>
                        </a:cxn>
                        <a:cxn ang="0">
                          <a:pos x="2" y="16"/>
                        </a:cxn>
                        <a:cxn ang="0">
                          <a:pos x="2" y="16"/>
                        </a:cxn>
                        <a:cxn ang="0">
                          <a:pos x="2" y="14"/>
                        </a:cxn>
                        <a:cxn ang="0">
                          <a:pos x="2" y="14"/>
                        </a:cxn>
                        <a:cxn ang="0">
                          <a:pos x="2" y="9"/>
                        </a:cxn>
                        <a:cxn ang="0">
                          <a:pos x="2" y="9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4" y="2"/>
                        </a:cxn>
                        <a:cxn ang="0">
                          <a:pos x="14" y="2"/>
                        </a:cxn>
                        <a:cxn ang="0">
                          <a:pos x="16" y="7"/>
                        </a:cxn>
                        <a:cxn ang="0">
                          <a:pos x="16" y="7"/>
                        </a:cxn>
                        <a:cxn ang="0">
                          <a:pos x="19" y="14"/>
                        </a:cxn>
                        <a:cxn ang="0">
                          <a:pos x="19" y="14"/>
                        </a:cxn>
                        <a:cxn ang="0">
                          <a:pos x="14" y="26"/>
                        </a:cxn>
                        <a:cxn ang="0">
                          <a:pos x="14" y="26"/>
                        </a:cxn>
                        <a:cxn ang="0">
                          <a:pos x="14" y="26"/>
                        </a:cxn>
                        <a:cxn ang="0">
                          <a:pos x="14" y="26"/>
                        </a:cxn>
                        <a:cxn ang="0">
                          <a:pos x="12" y="26"/>
                        </a:cxn>
                        <a:cxn ang="0">
                          <a:pos x="12" y="26"/>
                        </a:cxn>
                        <a:cxn ang="0">
                          <a:pos x="12" y="33"/>
                        </a:cxn>
                        <a:cxn ang="0">
                          <a:pos x="12" y="33"/>
                        </a:cxn>
                        <a:cxn ang="0">
                          <a:pos x="9" y="35"/>
                        </a:cxn>
                        <a:cxn ang="0">
                          <a:pos x="9" y="35"/>
                        </a:cxn>
                        <a:cxn ang="0">
                          <a:pos x="9" y="35"/>
                        </a:cxn>
                        <a:cxn ang="0">
                          <a:pos x="9" y="35"/>
                        </a:cxn>
                        <a:cxn ang="0">
                          <a:pos x="5" y="35"/>
                        </a:cxn>
                        <a:cxn ang="0">
                          <a:pos x="5" y="35"/>
                        </a:cxn>
                        <a:cxn ang="0">
                          <a:pos x="2" y="35"/>
                        </a:cxn>
                        <a:cxn ang="0">
                          <a:pos x="2" y="35"/>
                        </a:cxn>
                        <a:cxn ang="0">
                          <a:pos x="2" y="35"/>
                        </a:cxn>
                        <a:cxn ang="0">
                          <a:pos x="2" y="35"/>
                        </a:cxn>
                      </a:cxnLst>
                      <a:rect l="0" t="0" r="r" b="b"/>
                      <a:pathLst>
                        <a:path w="19" h="35">
                          <a:moveTo>
                            <a:pt x="2" y="35"/>
                          </a:moveTo>
                          <a:lnTo>
                            <a:pt x="0" y="33"/>
                          </a:lnTo>
                          <a:lnTo>
                            <a:pt x="0" y="33"/>
                          </a:lnTo>
                          <a:lnTo>
                            <a:pt x="0" y="31"/>
                          </a:lnTo>
                          <a:lnTo>
                            <a:pt x="0" y="31"/>
                          </a:lnTo>
                          <a:lnTo>
                            <a:pt x="5" y="23"/>
                          </a:lnTo>
                          <a:lnTo>
                            <a:pt x="5" y="23"/>
                          </a:lnTo>
                          <a:lnTo>
                            <a:pt x="5" y="21"/>
                          </a:lnTo>
                          <a:lnTo>
                            <a:pt x="5" y="21"/>
                          </a:lnTo>
                          <a:lnTo>
                            <a:pt x="5" y="19"/>
                          </a:lnTo>
                          <a:lnTo>
                            <a:pt x="5" y="19"/>
                          </a:lnTo>
                          <a:lnTo>
                            <a:pt x="2" y="16"/>
                          </a:lnTo>
                          <a:lnTo>
                            <a:pt x="2" y="16"/>
                          </a:lnTo>
                          <a:lnTo>
                            <a:pt x="2" y="14"/>
                          </a:lnTo>
                          <a:lnTo>
                            <a:pt x="2" y="14"/>
                          </a:lnTo>
                          <a:lnTo>
                            <a:pt x="2" y="9"/>
                          </a:lnTo>
                          <a:lnTo>
                            <a:pt x="2" y="9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2"/>
                          </a:lnTo>
                          <a:lnTo>
                            <a:pt x="14" y="2"/>
                          </a:lnTo>
                          <a:lnTo>
                            <a:pt x="16" y="7"/>
                          </a:lnTo>
                          <a:lnTo>
                            <a:pt x="16" y="7"/>
                          </a:lnTo>
                          <a:lnTo>
                            <a:pt x="19" y="14"/>
                          </a:lnTo>
                          <a:lnTo>
                            <a:pt x="19" y="14"/>
                          </a:lnTo>
                          <a:lnTo>
                            <a:pt x="14" y="26"/>
                          </a:lnTo>
                          <a:lnTo>
                            <a:pt x="14" y="26"/>
                          </a:lnTo>
                          <a:lnTo>
                            <a:pt x="14" y="26"/>
                          </a:lnTo>
                          <a:lnTo>
                            <a:pt x="14" y="26"/>
                          </a:lnTo>
                          <a:lnTo>
                            <a:pt x="12" y="26"/>
                          </a:lnTo>
                          <a:lnTo>
                            <a:pt x="12" y="26"/>
                          </a:lnTo>
                          <a:lnTo>
                            <a:pt x="12" y="33"/>
                          </a:lnTo>
                          <a:lnTo>
                            <a:pt x="12" y="33"/>
                          </a:lnTo>
                          <a:lnTo>
                            <a:pt x="9" y="35"/>
                          </a:lnTo>
                          <a:lnTo>
                            <a:pt x="9" y="35"/>
                          </a:lnTo>
                          <a:lnTo>
                            <a:pt x="9" y="35"/>
                          </a:lnTo>
                          <a:lnTo>
                            <a:pt x="9" y="35"/>
                          </a:lnTo>
                          <a:lnTo>
                            <a:pt x="5" y="35"/>
                          </a:lnTo>
                          <a:lnTo>
                            <a:pt x="5" y="35"/>
                          </a:lnTo>
                          <a:lnTo>
                            <a:pt x="2" y="35"/>
                          </a:lnTo>
                          <a:lnTo>
                            <a:pt x="2" y="35"/>
                          </a:lnTo>
                          <a:lnTo>
                            <a:pt x="2" y="35"/>
                          </a:lnTo>
                          <a:lnTo>
                            <a:pt x="2" y="35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04" name="Freeform 1129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317" y="1031"/>
                      <a:ext cx="16" cy="30"/>
                    </a:xfrm>
                    <a:custGeom>
                      <a:avLst/>
                      <a:gdLst/>
                      <a:ahLst/>
                      <a:cxnLst>
                        <a:cxn ang="0">
                          <a:pos x="14" y="26"/>
                        </a:cxn>
                        <a:cxn ang="0">
                          <a:pos x="14" y="26"/>
                        </a:cxn>
                        <a:cxn ang="0">
                          <a:pos x="14" y="26"/>
                        </a:cxn>
                        <a:cxn ang="0">
                          <a:pos x="11" y="23"/>
                        </a:cxn>
                        <a:cxn ang="0">
                          <a:pos x="11" y="23"/>
                        </a:cxn>
                        <a:cxn ang="0">
                          <a:pos x="11" y="23"/>
                        </a:cxn>
                        <a:cxn ang="0">
                          <a:pos x="11" y="23"/>
                        </a:cxn>
                        <a:cxn ang="0">
                          <a:pos x="11" y="23"/>
                        </a:cxn>
                        <a:cxn ang="0">
                          <a:pos x="11" y="23"/>
                        </a:cxn>
                        <a:cxn ang="0">
                          <a:pos x="11" y="21"/>
                        </a:cxn>
                        <a:cxn ang="0">
                          <a:pos x="11" y="21"/>
                        </a:cxn>
                        <a:cxn ang="0">
                          <a:pos x="9" y="18"/>
                        </a:cxn>
                        <a:cxn ang="0">
                          <a:pos x="9" y="18"/>
                        </a:cxn>
                        <a:cxn ang="0">
                          <a:pos x="7" y="11"/>
                        </a:cxn>
                        <a:cxn ang="0">
                          <a:pos x="7" y="11"/>
                        </a:cxn>
                        <a:cxn ang="0">
                          <a:pos x="4" y="7"/>
                        </a:cxn>
                        <a:cxn ang="0">
                          <a:pos x="4" y="7"/>
                        </a:cxn>
                        <a:cxn ang="0">
                          <a:pos x="4" y="7"/>
                        </a:cxn>
                        <a:cxn ang="0">
                          <a:pos x="4" y="7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0" y="4"/>
                        </a:cxn>
                        <a:cxn ang="0">
                          <a:pos x="0" y="4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4" y="4"/>
                        </a:cxn>
                        <a:cxn ang="0">
                          <a:pos x="4" y="4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9"/>
                        </a:cxn>
                        <a:cxn ang="0">
                          <a:pos x="7" y="9"/>
                        </a:cxn>
                        <a:cxn ang="0">
                          <a:pos x="9" y="11"/>
                        </a:cxn>
                        <a:cxn ang="0">
                          <a:pos x="9" y="11"/>
                        </a:cxn>
                        <a:cxn ang="0">
                          <a:pos x="9" y="16"/>
                        </a:cxn>
                        <a:cxn ang="0">
                          <a:pos x="9" y="16"/>
                        </a:cxn>
                        <a:cxn ang="0">
                          <a:pos x="11" y="16"/>
                        </a:cxn>
                        <a:cxn ang="0">
                          <a:pos x="11" y="16"/>
                        </a:cxn>
                        <a:cxn ang="0">
                          <a:pos x="14" y="23"/>
                        </a:cxn>
                        <a:cxn ang="0">
                          <a:pos x="14" y="23"/>
                        </a:cxn>
                        <a:cxn ang="0">
                          <a:pos x="14" y="26"/>
                        </a:cxn>
                        <a:cxn ang="0">
                          <a:pos x="14" y="26"/>
                        </a:cxn>
                        <a:cxn ang="0">
                          <a:pos x="14" y="26"/>
                        </a:cxn>
                        <a:cxn ang="0">
                          <a:pos x="14" y="26"/>
                        </a:cxn>
                        <a:cxn ang="0">
                          <a:pos x="14" y="26"/>
                        </a:cxn>
                        <a:cxn ang="0">
                          <a:pos x="14" y="26"/>
                        </a:cxn>
                      </a:cxnLst>
                      <a:rect l="0" t="0" r="r" b="b"/>
                      <a:pathLst>
                        <a:path w="14" h="26">
                          <a:moveTo>
                            <a:pt x="14" y="26"/>
                          </a:moveTo>
                          <a:lnTo>
                            <a:pt x="14" y="26"/>
                          </a:lnTo>
                          <a:lnTo>
                            <a:pt x="14" y="26"/>
                          </a:lnTo>
                          <a:lnTo>
                            <a:pt x="11" y="23"/>
                          </a:lnTo>
                          <a:lnTo>
                            <a:pt x="11" y="23"/>
                          </a:lnTo>
                          <a:lnTo>
                            <a:pt x="11" y="23"/>
                          </a:lnTo>
                          <a:lnTo>
                            <a:pt x="11" y="23"/>
                          </a:lnTo>
                          <a:lnTo>
                            <a:pt x="11" y="23"/>
                          </a:lnTo>
                          <a:lnTo>
                            <a:pt x="11" y="23"/>
                          </a:lnTo>
                          <a:lnTo>
                            <a:pt x="11" y="21"/>
                          </a:lnTo>
                          <a:lnTo>
                            <a:pt x="11" y="21"/>
                          </a:lnTo>
                          <a:lnTo>
                            <a:pt x="9" y="18"/>
                          </a:lnTo>
                          <a:lnTo>
                            <a:pt x="9" y="18"/>
                          </a:lnTo>
                          <a:lnTo>
                            <a:pt x="7" y="11"/>
                          </a:lnTo>
                          <a:lnTo>
                            <a:pt x="7" y="11"/>
                          </a:lnTo>
                          <a:lnTo>
                            <a:pt x="4" y="7"/>
                          </a:lnTo>
                          <a:lnTo>
                            <a:pt x="4" y="7"/>
                          </a:lnTo>
                          <a:lnTo>
                            <a:pt x="4" y="7"/>
                          </a:lnTo>
                          <a:lnTo>
                            <a:pt x="4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0" y="4"/>
                          </a:lnTo>
                          <a:lnTo>
                            <a:pt x="0" y="4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4" y="4"/>
                          </a:lnTo>
                          <a:lnTo>
                            <a:pt x="4" y="4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9"/>
                          </a:lnTo>
                          <a:lnTo>
                            <a:pt x="7" y="9"/>
                          </a:lnTo>
                          <a:lnTo>
                            <a:pt x="9" y="11"/>
                          </a:lnTo>
                          <a:lnTo>
                            <a:pt x="9" y="11"/>
                          </a:lnTo>
                          <a:lnTo>
                            <a:pt x="9" y="16"/>
                          </a:lnTo>
                          <a:lnTo>
                            <a:pt x="9" y="16"/>
                          </a:lnTo>
                          <a:lnTo>
                            <a:pt x="11" y="16"/>
                          </a:lnTo>
                          <a:lnTo>
                            <a:pt x="11" y="16"/>
                          </a:lnTo>
                          <a:lnTo>
                            <a:pt x="14" y="23"/>
                          </a:lnTo>
                          <a:lnTo>
                            <a:pt x="14" y="23"/>
                          </a:lnTo>
                          <a:lnTo>
                            <a:pt x="14" y="26"/>
                          </a:lnTo>
                          <a:lnTo>
                            <a:pt x="14" y="26"/>
                          </a:lnTo>
                          <a:lnTo>
                            <a:pt x="14" y="26"/>
                          </a:lnTo>
                          <a:lnTo>
                            <a:pt x="14" y="26"/>
                          </a:lnTo>
                          <a:lnTo>
                            <a:pt x="14" y="26"/>
                          </a:lnTo>
                          <a:lnTo>
                            <a:pt x="14" y="26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05" name="Freeform 1130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529" y="1085"/>
                      <a:ext cx="6" cy="10"/>
                    </a:xfrm>
                    <a:custGeom>
                      <a:avLst/>
                      <a:gdLst/>
                      <a:ahLst/>
                      <a:cxnLst>
                        <a:cxn ang="0">
                          <a:pos x="3" y="9"/>
                        </a:cxn>
                        <a:cxn ang="0">
                          <a:pos x="3" y="9"/>
                        </a:cxn>
                        <a:cxn ang="0">
                          <a:pos x="3" y="9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3" y="7"/>
                        </a:cxn>
                        <a:cxn ang="0">
                          <a:pos x="3" y="7"/>
                        </a:cxn>
                        <a:cxn ang="0">
                          <a:pos x="3" y="9"/>
                        </a:cxn>
                        <a:cxn ang="0">
                          <a:pos x="3" y="9"/>
                        </a:cxn>
                        <a:cxn ang="0">
                          <a:pos x="3" y="9"/>
                        </a:cxn>
                        <a:cxn ang="0">
                          <a:pos x="3" y="9"/>
                        </a:cxn>
                      </a:cxnLst>
                      <a:rect l="0" t="0" r="r" b="b"/>
                      <a:pathLst>
                        <a:path w="5" h="9">
                          <a:moveTo>
                            <a:pt x="3" y="9"/>
                          </a:moveTo>
                          <a:lnTo>
                            <a:pt x="3" y="9"/>
                          </a:lnTo>
                          <a:lnTo>
                            <a:pt x="3" y="9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3" y="7"/>
                          </a:lnTo>
                          <a:lnTo>
                            <a:pt x="3" y="7"/>
                          </a:lnTo>
                          <a:lnTo>
                            <a:pt x="3" y="9"/>
                          </a:lnTo>
                          <a:lnTo>
                            <a:pt x="3" y="9"/>
                          </a:lnTo>
                          <a:lnTo>
                            <a:pt x="3" y="9"/>
                          </a:lnTo>
                          <a:lnTo>
                            <a:pt x="3" y="9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06" name="Freeform 1131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559" y="1117"/>
                      <a:ext cx="27" cy="16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2"/>
                        </a:cxn>
                        <a:cxn ang="0">
                          <a:pos x="0" y="12"/>
                        </a:cxn>
                        <a:cxn ang="0">
                          <a:pos x="0" y="12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3" y="5"/>
                        </a:cxn>
                        <a:cxn ang="0">
                          <a:pos x="3" y="5"/>
                        </a:cxn>
                        <a:cxn ang="0">
                          <a:pos x="3" y="3"/>
                        </a:cxn>
                        <a:cxn ang="0">
                          <a:pos x="3" y="3"/>
                        </a:cxn>
                        <a:cxn ang="0">
                          <a:pos x="17" y="0"/>
                        </a:cxn>
                        <a:cxn ang="0">
                          <a:pos x="17" y="0"/>
                        </a:cxn>
                        <a:cxn ang="0">
                          <a:pos x="21" y="0"/>
                        </a:cxn>
                        <a:cxn ang="0">
                          <a:pos x="21" y="0"/>
                        </a:cxn>
                        <a:cxn ang="0">
                          <a:pos x="21" y="0"/>
                        </a:cxn>
                        <a:cxn ang="0">
                          <a:pos x="21" y="0"/>
                        </a:cxn>
                        <a:cxn ang="0">
                          <a:pos x="24" y="3"/>
                        </a:cxn>
                        <a:cxn ang="0">
                          <a:pos x="24" y="3"/>
                        </a:cxn>
                        <a:cxn ang="0">
                          <a:pos x="24" y="5"/>
                        </a:cxn>
                        <a:cxn ang="0">
                          <a:pos x="24" y="5"/>
                        </a:cxn>
                        <a:cxn ang="0">
                          <a:pos x="21" y="12"/>
                        </a:cxn>
                        <a:cxn ang="0">
                          <a:pos x="21" y="12"/>
                        </a:cxn>
                        <a:cxn ang="0">
                          <a:pos x="21" y="12"/>
                        </a:cxn>
                        <a:cxn ang="0">
                          <a:pos x="21" y="12"/>
                        </a:cxn>
                        <a:cxn ang="0">
                          <a:pos x="17" y="14"/>
                        </a:cxn>
                        <a:cxn ang="0">
                          <a:pos x="17" y="14"/>
                        </a:cxn>
                        <a:cxn ang="0">
                          <a:pos x="17" y="14"/>
                        </a:cxn>
                        <a:cxn ang="0">
                          <a:pos x="17" y="14"/>
                        </a:cxn>
                        <a:cxn ang="0">
                          <a:pos x="14" y="12"/>
                        </a:cxn>
                        <a:cxn ang="0">
                          <a:pos x="14" y="12"/>
                        </a:cxn>
                        <a:cxn ang="0">
                          <a:pos x="12" y="10"/>
                        </a:cxn>
                        <a:cxn ang="0">
                          <a:pos x="12" y="10"/>
                        </a:cxn>
                        <a:cxn ang="0">
                          <a:pos x="5" y="10"/>
                        </a:cxn>
                        <a:cxn ang="0">
                          <a:pos x="5" y="10"/>
                        </a:cxn>
                        <a:cxn ang="0">
                          <a:pos x="0" y="12"/>
                        </a:cxn>
                        <a:cxn ang="0">
                          <a:pos x="0" y="12"/>
                        </a:cxn>
                        <a:cxn ang="0">
                          <a:pos x="0" y="12"/>
                        </a:cxn>
                        <a:cxn ang="0">
                          <a:pos x="0" y="12"/>
                        </a:cxn>
                      </a:cxnLst>
                      <a:rect l="0" t="0" r="r" b="b"/>
                      <a:pathLst>
                        <a:path w="24" h="14">
                          <a:moveTo>
                            <a:pt x="0" y="12"/>
                          </a:move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3" y="5"/>
                          </a:lnTo>
                          <a:lnTo>
                            <a:pt x="3" y="5"/>
                          </a:lnTo>
                          <a:lnTo>
                            <a:pt x="3" y="3"/>
                          </a:lnTo>
                          <a:lnTo>
                            <a:pt x="3" y="3"/>
                          </a:lnTo>
                          <a:lnTo>
                            <a:pt x="17" y="0"/>
                          </a:lnTo>
                          <a:lnTo>
                            <a:pt x="17" y="0"/>
                          </a:lnTo>
                          <a:lnTo>
                            <a:pt x="21" y="0"/>
                          </a:lnTo>
                          <a:lnTo>
                            <a:pt x="21" y="0"/>
                          </a:lnTo>
                          <a:lnTo>
                            <a:pt x="21" y="0"/>
                          </a:lnTo>
                          <a:lnTo>
                            <a:pt x="21" y="0"/>
                          </a:lnTo>
                          <a:lnTo>
                            <a:pt x="24" y="3"/>
                          </a:lnTo>
                          <a:lnTo>
                            <a:pt x="24" y="3"/>
                          </a:lnTo>
                          <a:lnTo>
                            <a:pt x="24" y="5"/>
                          </a:lnTo>
                          <a:lnTo>
                            <a:pt x="24" y="5"/>
                          </a:lnTo>
                          <a:lnTo>
                            <a:pt x="21" y="12"/>
                          </a:lnTo>
                          <a:lnTo>
                            <a:pt x="21" y="12"/>
                          </a:lnTo>
                          <a:lnTo>
                            <a:pt x="21" y="12"/>
                          </a:lnTo>
                          <a:lnTo>
                            <a:pt x="21" y="12"/>
                          </a:lnTo>
                          <a:lnTo>
                            <a:pt x="17" y="14"/>
                          </a:lnTo>
                          <a:lnTo>
                            <a:pt x="17" y="14"/>
                          </a:lnTo>
                          <a:lnTo>
                            <a:pt x="17" y="14"/>
                          </a:lnTo>
                          <a:lnTo>
                            <a:pt x="17" y="14"/>
                          </a:lnTo>
                          <a:lnTo>
                            <a:pt x="14" y="12"/>
                          </a:lnTo>
                          <a:lnTo>
                            <a:pt x="14" y="12"/>
                          </a:lnTo>
                          <a:lnTo>
                            <a:pt x="12" y="10"/>
                          </a:lnTo>
                          <a:lnTo>
                            <a:pt x="12" y="10"/>
                          </a:lnTo>
                          <a:lnTo>
                            <a:pt x="5" y="10"/>
                          </a:lnTo>
                          <a:lnTo>
                            <a:pt x="5" y="10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close/>
                        </a:path>
                      </a:pathLst>
                    </a:custGeom>
                    <a:solidFill>
                      <a:srgbClr val="0070C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07" name="Freeform 1132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377" y="1117"/>
                      <a:ext cx="4" cy="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4" y="3"/>
                        </a:cxn>
                        <a:cxn ang="0">
                          <a:pos x="4" y="3"/>
                        </a:cxn>
                        <a:cxn ang="0">
                          <a:pos x="4" y="3"/>
                        </a:cxn>
                        <a:cxn ang="0">
                          <a:pos x="4" y="3"/>
                        </a:cxn>
                        <a:cxn ang="0">
                          <a:pos x="4" y="5"/>
                        </a:cxn>
                        <a:cxn ang="0">
                          <a:pos x="4" y="5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</a:cxnLst>
                      <a:rect l="0" t="0" r="r" b="b"/>
                      <a:pathLst>
                        <a:path w="4" h="7">
                          <a:moveTo>
                            <a:pt x="0" y="7"/>
                          </a:move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4" y="3"/>
                          </a:lnTo>
                          <a:lnTo>
                            <a:pt x="4" y="3"/>
                          </a:lnTo>
                          <a:lnTo>
                            <a:pt x="4" y="3"/>
                          </a:lnTo>
                          <a:lnTo>
                            <a:pt x="4" y="3"/>
                          </a:lnTo>
                          <a:lnTo>
                            <a:pt x="4" y="5"/>
                          </a:lnTo>
                          <a:lnTo>
                            <a:pt x="4" y="5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08" name="Freeform 1133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495" y="1122"/>
                      <a:ext cx="83" cy="180"/>
                    </a:xfrm>
                    <a:custGeom>
                      <a:avLst/>
                      <a:gdLst/>
                      <a:ahLst/>
                      <a:cxnLst>
                        <a:cxn ang="0">
                          <a:pos x="66" y="151"/>
                        </a:cxn>
                        <a:cxn ang="0">
                          <a:pos x="61" y="132"/>
                        </a:cxn>
                        <a:cxn ang="0">
                          <a:pos x="56" y="120"/>
                        </a:cxn>
                        <a:cxn ang="0">
                          <a:pos x="47" y="113"/>
                        </a:cxn>
                        <a:cxn ang="0">
                          <a:pos x="44" y="113"/>
                        </a:cxn>
                        <a:cxn ang="0">
                          <a:pos x="35" y="111"/>
                        </a:cxn>
                        <a:cxn ang="0">
                          <a:pos x="33" y="109"/>
                        </a:cxn>
                        <a:cxn ang="0">
                          <a:pos x="30" y="106"/>
                        </a:cxn>
                        <a:cxn ang="0">
                          <a:pos x="30" y="106"/>
                        </a:cxn>
                        <a:cxn ang="0">
                          <a:pos x="18" y="99"/>
                        </a:cxn>
                        <a:cxn ang="0">
                          <a:pos x="16" y="97"/>
                        </a:cxn>
                        <a:cxn ang="0">
                          <a:pos x="16" y="92"/>
                        </a:cxn>
                        <a:cxn ang="0">
                          <a:pos x="18" y="92"/>
                        </a:cxn>
                        <a:cxn ang="0">
                          <a:pos x="21" y="94"/>
                        </a:cxn>
                        <a:cxn ang="0">
                          <a:pos x="21" y="94"/>
                        </a:cxn>
                        <a:cxn ang="0">
                          <a:pos x="26" y="94"/>
                        </a:cxn>
                        <a:cxn ang="0">
                          <a:pos x="28" y="92"/>
                        </a:cxn>
                        <a:cxn ang="0">
                          <a:pos x="33" y="75"/>
                        </a:cxn>
                        <a:cxn ang="0">
                          <a:pos x="33" y="75"/>
                        </a:cxn>
                        <a:cxn ang="0">
                          <a:pos x="28" y="59"/>
                        </a:cxn>
                        <a:cxn ang="0">
                          <a:pos x="21" y="52"/>
                        </a:cxn>
                        <a:cxn ang="0">
                          <a:pos x="11" y="31"/>
                        </a:cxn>
                        <a:cxn ang="0">
                          <a:pos x="9" y="21"/>
                        </a:cxn>
                        <a:cxn ang="0">
                          <a:pos x="0" y="14"/>
                        </a:cxn>
                        <a:cxn ang="0">
                          <a:pos x="0" y="12"/>
                        </a:cxn>
                        <a:cxn ang="0">
                          <a:pos x="0" y="2"/>
                        </a:cxn>
                        <a:cxn ang="0">
                          <a:pos x="2" y="0"/>
                        </a:cxn>
                        <a:cxn ang="0">
                          <a:pos x="4" y="5"/>
                        </a:cxn>
                        <a:cxn ang="0">
                          <a:pos x="9" y="9"/>
                        </a:cxn>
                        <a:cxn ang="0">
                          <a:pos x="9" y="16"/>
                        </a:cxn>
                        <a:cxn ang="0">
                          <a:pos x="11" y="19"/>
                        </a:cxn>
                        <a:cxn ang="0">
                          <a:pos x="18" y="31"/>
                        </a:cxn>
                        <a:cxn ang="0">
                          <a:pos x="21" y="35"/>
                        </a:cxn>
                        <a:cxn ang="0">
                          <a:pos x="26" y="49"/>
                        </a:cxn>
                        <a:cxn ang="0">
                          <a:pos x="28" y="54"/>
                        </a:cxn>
                        <a:cxn ang="0">
                          <a:pos x="35" y="73"/>
                        </a:cxn>
                        <a:cxn ang="0">
                          <a:pos x="35" y="73"/>
                        </a:cxn>
                        <a:cxn ang="0">
                          <a:pos x="37" y="80"/>
                        </a:cxn>
                        <a:cxn ang="0">
                          <a:pos x="37" y="80"/>
                        </a:cxn>
                        <a:cxn ang="0">
                          <a:pos x="35" y="87"/>
                        </a:cxn>
                        <a:cxn ang="0">
                          <a:pos x="37" y="97"/>
                        </a:cxn>
                        <a:cxn ang="0">
                          <a:pos x="40" y="104"/>
                        </a:cxn>
                        <a:cxn ang="0">
                          <a:pos x="44" y="106"/>
                        </a:cxn>
                        <a:cxn ang="0">
                          <a:pos x="51" y="109"/>
                        </a:cxn>
                        <a:cxn ang="0">
                          <a:pos x="54" y="109"/>
                        </a:cxn>
                        <a:cxn ang="0">
                          <a:pos x="66" y="125"/>
                        </a:cxn>
                        <a:cxn ang="0">
                          <a:pos x="70" y="127"/>
                        </a:cxn>
                        <a:cxn ang="0">
                          <a:pos x="73" y="153"/>
                        </a:cxn>
                        <a:cxn ang="0">
                          <a:pos x="73" y="156"/>
                        </a:cxn>
                        <a:cxn ang="0">
                          <a:pos x="70" y="158"/>
                        </a:cxn>
                        <a:cxn ang="0">
                          <a:pos x="70" y="158"/>
                        </a:cxn>
                      </a:cxnLst>
                      <a:rect l="0" t="0" r="r" b="b"/>
                      <a:pathLst>
                        <a:path w="73" h="158">
                          <a:moveTo>
                            <a:pt x="70" y="158"/>
                          </a:moveTo>
                          <a:lnTo>
                            <a:pt x="66" y="151"/>
                          </a:lnTo>
                          <a:lnTo>
                            <a:pt x="66" y="151"/>
                          </a:lnTo>
                          <a:lnTo>
                            <a:pt x="63" y="139"/>
                          </a:lnTo>
                          <a:lnTo>
                            <a:pt x="63" y="139"/>
                          </a:lnTo>
                          <a:lnTo>
                            <a:pt x="61" y="132"/>
                          </a:lnTo>
                          <a:lnTo>
                            <a:pt x="61" y="132"/>
                          </a:lnTo>
                          <a:lnTo>
                            <a:pt x="56" y="120"/>
                          </a:lnTo>
                          <a:lnTo>
                            <a:pt x="56" y="120"/>
                          </a:lnTo>
                          <a:lnTo>
                            <a:pt x="54" y="118"/>
                          </a:lnTo>
                          <a:lnTo>
                            <a:pt x="54" y="118"/>
                          </a:lnTo>
                          <a:lnTo>
                            <a:pt x="47" y="113"/>
                          </a:lnTo>
                          <a:lnTo>
                            <a:pt x="47" y="113"/>
                          </a:lnTo>
                          <a:lnTo>
                            <a:pt x="44" y="113"/>
                          </a:lnTo>
                          <a:lnTo>
                            <a:pt x="44" y="113"/>
                          </a:lnTo>
                          <a:lnTo>
                            <a:pt x="40" y="113"/>
                          </a:lnTo>
                          <a:lnTo>
                            <a:pt x="40" y="113"/>
                          </a:lnTo>
                          <a:lnTo>
                            <a:pt x="35" y="111"/>
                          </a:lnTo>
                          <a:lnTo>
                            <a:pt x="35" y="111"/>
                          </a:lnTo>
                          <a:lnTo>
                            <a:pt x="33" y="109"/>
                          </a:lnTo>
                          <a:lnTo>
                            <a:pt x="33" y="109"/>
                          </a:lnTo>
                          <a:lnTo>
                            <a:pt x="30" y="109"/>
                          </a:lnTo>
                          <a:lnTo>
                            <a:pt x="30" y="109"/>
                          </a:lnTo>
                          <a:lnTo>
                            <a:pt x="30" y="106"/>
                          </a:lnTo>
                          <a:lnTo>
                            <a:pt x="30" y="106"/>
                          </a:lnTo>
                          <a:lnTo>
                            <a:pt x="30" y="106"/>
                          </a:lnTo>
                          <a:lnTo>
                            <a:pt x="30" y="106"/>
                          </a:lnTo>
                          <a:lnTo>
                            <a:pt x="21" y="99"/>
                          </a:lnTo>
                          <a:lnTo>
                            <a:pt x="21" y="99"/>
                          </a:lnTo>
                          <a:lnTo>
                            <a:pt x="18" y="99"/>
                          </a:lnTo>
                          <a:lnTo>
                            <a:pt x="18" y="99"/>
                          </a:lnTo>
                          <a:lnTo>
                            <a:pt x="16" y="97"/>
                          </a:lnTo>
                          <a:lnTo>
                            <a:pt x="16" y="97"/>
                          </a:lnTo>
                          <a:lnTo>
                            <a:pt x="16" y="97"/>
                          </a:lnTo>
                          <a:lnTo>
                            <a:pt x="16" y="97"/>
                          </a:lnTo>
                          <a:lnTo>
                            <a:pt x="16" y="92"/>
                          </a:lnTo>
                          <a:lnTo>
                            <a:pt x="16" y="92"/>
                          </a:lnTo>
                          <a:lnTo>
                            <a:pt x="18" y="92"/>
                          </a:lnTo>
                          <a:lnTo>
                            <a:pt x="18" y="92"/>
                          </a:lnTo>
                          <a:lnTo>
                            <a:pt x="18" y="92"/>
                          </a:lnTo>
                          <a:lnTo>
                            <a:pt x="18" y="92"/>
                          </a:lnTo>
                          <a:lnTo>
                            <a:pt x="21" y="94"/>
                          </a:lnTo>
                          <a:lnTo>
                            <a:pt x="21" y="94"/>
                          </a:lnTo>
                          <a:lnTo>
                            <a:pt x="21" y="94"/>
                          </a:lnTo>
                          <a:lnTo>
                            <a:pt x="21" y="94"/>
                          </a:lnTo>
                          <a:lnTo>
                            <a:pt x="21" y="94"/>
                          </a:lnTo>
                          <a:lnTo>
                            <a:pt x="21" y="94"/>
                          </a:lnTo>
                          <a:lnTo>
                            <a:pt x="26" y="94"/>
                          </a:lnTo>
                          <a:lnTo>
                            <a:pt x="26" y="94"/>
                          </a:lnTo>
                          <a:lnTo>
                            <a:pt x="28" y="92"/>
                          </a:lnTo>
                          <a:lnTo>
                            <a:pt x="28" y="92"/>
                          </a:lnTo>
                          <a:lnTo>
                            <a:pt x="30" y="90"/>
                          </a:lnTo>
                          <a:lnTo>
                            <a:pt x="30" y="90"/>
                          </a:lnTo>
                          <a:lnTo>
                            <a:pt x="33" y="75"/>
                          </a:lnTo>
                          <a:lnTo>
                            <a:pt x="33" y="75"/>
                          </a:lnTo>
                          <a:lnTo>
                            <a:pt x="33" y="75"/>
                          </a:lnTo>
                          <a:lnTo>
                            <a:pt x="33" y="75"/>
                          </a:lnTo>
                          <a:lnTo>
                            <a:pt x="30" y="64"/>
                          </a:lnTo>
                          <a:lnTo>
                            <a:pt x="30" y="64"/>
                          </a:lnTo>
                          <a:lnTo>
                            <a:pt x="28" y="59"/>
                          </a:lnTo>
                          <a:lnTo>
                            <a:pt x="28" y="59"/>
                          </a:lnTo>
                          <a:lnTo>
                            <a:pt x="21" y="52"/>
                          </a:lnTo>
                          <a:lnTo>
                            <a:pt x="21" y="52"/>
                          </a:lnTo>
                          <a:lnTo>
                            <a:pt x="14" y="38"/>
                          </a:lnTo>
                          <a:lnTo>
                            <a:pt x="14" y="38"/>
                          </a:lnTo>
                          <a:lnTo>
                            <a:pt x="11" y="31"/>
                          </a:lnTo>
                          <a:lnTo>
                            <a:pt x="11" y="31"/>
                          </a:lnTo>
                          <a:lnTo>
                            <a:pt x="9" y="21"/>
                          </a:lnTo>
                          <a:lnTo>
                            <a:pt x="9" y="21"/>
                          </a:lnTo>
                          <a:lnTo>
                            <a:pt x="2" y="12"/>
                          </a:lnTo>
                          <a:lnTo>
                            <a:pt x="2" y="12"/>
                          </a:lnTo>
                          <a:lnTo>
                            <a:pt x="0" y="14"/>
                          </a:lnTo>
                          <a:lnTo>
                            <a:pt x="0" y="14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4" y="5"/>
                          </a:lnTo>
                          <a:lnTo>
                            <a:pt x="4" y="5"/>
                          </a:lnTo>
                          <a:lnTo>
                            <a:pt x="9" y="9"/>
                          </a:lnTo>
                          <a:lnTo>
                            <a:pt x="9" y="9"/>
                          </a:lnTo>
                          <a:lnTo>
                            <a:pt x="9" y="14"/>
                          </a:lnTo>
                          <a:lnTo>
                            <a:pt x="9" y="14"/>
                          </a:lnTo>
                          <a:lnTo>
                            <a:pt x="9" y="16"/>
                          </a:lnTo>
                          <a:lnTo>
                            <a:pt x="9" y="16"/>
                          </a:lnTo>
                          <a:lnTo>
                            <a:pt x="11" y="19"/>
                          </a:lnTo>
                          <a:lnTo>
                            <a:pt x="11" y="19"/>
                          </a:lnTo>
                          <a:lnTo>
                            <a:pt x="18" y="28"/>
                          </a:lnTo>
                          <a:lnTo>
                            <a:pt x="18" y="28"/>
                          </a:lnTo>
                          <a:lnTo>
                            <a:pt x="18" y="31"/>
                          </a:lnTo>
                          <a:lnTo>
                            <a:pt x="18" y="31"/>
                          </a:lnTo>
                          <a:lnTo>
                            <a:pt x="21" y="35"/>
                          </a:lnTo>
                          <a:lnTo>
                            <a:pt x="21" y="35"/>
                          </a:lnTo>
                          <a:lnTo>
                            <a:pt x="21" y="42"/>
                          </a:lnTo>
                          <a:lnTo>
                            <a:pt x="21" y="42"/>
                          </a:lnTo>
                          <a:lnTo>
                            <a:pt x="26" y="49"/>
                          </a:lnTo>
                          <a:lnTo>
                            <a:pt x="26" y="49"/>
                          </a:lnTo>
                          <a:lnTo>
                            <a:pt x="28" y="54"/>
                          </a:lnTo>
                          <a:lnTo>
                            <a:pt x="28" y="54"/>
                          </a:lnTo>
                          <a:lnTo>
                            <a:pt x="33" y="66"/>
                          </a:lnTo>
                          <a:lnTo>
                            <a:pt x="33" y="66"/>
                          </a:lnTo>
                          <a:lnTo>
                            <a:pt x="35" y="73"/>
                          </a:lnTo>
                          <a:lnTo>
                            <a:pt x="35" y="73"/>
                          </a:lnTo>
                          <a:lnTo>
                            <a:pt x="35" y="73"/>
                          </a:lnTo>
                          <a:lnTo>
                            <a:pt x="35" y="73"/>
                          </a:lnTo>
                          <a:lnTo>
                            <a:pt x="37" y="75"/>
                          </a:lnTo>
                          <a:lnTo>
                            <a:pt x="37" y="75"/>
                          </a:lnTo>
                          <a:lnTo>
                            <a:pt x="37" y="80"/>
                          </a:lnTo>
                          <a:lnTo>
                            <a:pt x="37" y="80"/>
                          </a:lnTo>
                          <a:lnTo>
                            <a:pt x="37" y="80"/>
                          </a:lnTo>
                          <a:lnTo>
                            <a:pt x="37" y="80"/>
                          </a:lnTo>
                          <a:lnTo>
                            <a:pt x="35" y="83"/>
                          </a:lnTo>
                          <a:lnTo>
                            <a:pt x="35" y="83"/>
                          </a:lnTo>
                          <a:lnTo>
                            <a:pt x="35" y="87"/>
                          </a:lnTo>
                          <a:lnTo>
                            <a:pt x="35" y="87"/>
                          </a:lnTo>
                          <a:lnTo>
                            <a:pt x="37" y="97"/>
                          </a:lnTo>
                          <a:lnTo>
                            <a:pt x="37" y="97"/>
                          </a:lnTo>
                          <a:lnTo>
                            <a:pt x="40" y="99"/>
                          </a:lnTo>
                          <a:lnTo>
                            <a:pt x="40" y="99"/>
                          </a:lnTo>
                          <a:lnTo>
                            <a:pt x="40" y="104"/>
                          </a:lnTo>
                          <a:lnTo>
                            <a:pt x="40" y="104"/>
                          </a:lnTo>
                          <a:lnTo>
                            <a:pt x="44" y="106"/>
                          </a:lnTo>
                          <a:lnTo>
                            <a:pt x="44" y="106"/>
                          </a:lnTo>
                          <a:lnTo>
                            <a:pt x="44" y="109"/>
                          </a:lnTo>
                          <a:lnTo>
                            <a:pt x="44" y="109"/>
                          </a:lnTo>
                          <a:lnTo>
                            <a:pt x="51" y="109"/>
                          </a:lnTo>
                          <a:lnTo>
                            <a:pt x="51" y="109"/>
                          </a:lnTo>
                          <a:lnTo>
                            <a:pt x="54" y="109"/>
                          </a:lnTo>
                          <a:lnTo>
                            <a:pt x="54" y="109"/>
                          </a:lnTo>
                          <a:lnTo>
                            <a:pt x="59" y="113"/>
                          </a:lnTo>
                          <a:lnTo>
                            <a:pt x="59" y="113"/>
                          </a:lnTo>
                          <a:lnTo>
                            <a:pt x="66" y="125"/>
                          </a:lnTo>
                          <a:lnTo>
                            <a:pt x="66" y="125"/>
                          </a:lnTo>
                          <a:lnTo>
                            <a:pt x="70" y="127"/>
                          </a:lnTo>
                          <a:lnTo>
                            <a:pt x="70" y="127"/>
                          </a:lnTo>
                          <a:lnTo>
                            <a:pt x="70" y="130"/>
                          </a:lnTo>
                          <a:lnTo>
                            <a:pt x="70" y="130"/>
                          </a:lnTo>
                          <a:lnTo>
                            <a:pt x="73" y="153"/>
                          </a:lnTo>
                          <a:lnTo>
                            <a:pt x="73" y="153"/>
                          </a:lnTo>
                          <a:lnTo>
                            <a:pt x="73" y="156"/>
                          </a:lnTo>
                          <a:lnTo>
                            <a:pt x="73" y="156"/>
                          </a:lnTo>
                          <a:lnTo>
                            <a:pt x="73" y="156"/>
                          </a:lnTo>
                          <a:lnTo>
                            <a:pt x="73" y="156"/>
                          </a:lnTo>
                          <a:lnTo>
                            <a:pt x="70" y="158"/>
                          </a:lnTo>
                          <a:lnTo>
                            <a:pt x="70" y="158"/>
                          </a:lnTo>
                          <a:lnTo>
                            <a:pt x="70" y="158"/>
                          </a:lnTo>
                          <a:lnTo>
                            <a:pt x="70" y="158"/>
                          </a:lnTo>
                          <a:close/>
                        </a:path>
                      </a:pathLst>
                    </a:custGeom>
                    <a:solidFill>
                      <a:srgbClr val="0070C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09" name="Freeform 1134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379" y="1122"/>
                      <a:ext cx="86" cy="62"/>
                    </a:xfrm>
                    <a:custGeom>
                      <a:avLst/>
                      <a:gdLst/>
                      <a:ahLst/>
                      <a:cxnLst>
                        <a:cxn ang="0">
                          <a:pos x="28" y="40"/>
                        </a:cxn>
                        <a:cxn ang="0">
                          <a:pos x="31" y="33"/>
                        </a:cxn>
                        <a:cxn ang="0">
                          <a:pos x="19" y="23"/>
                        </a:cxn>
                        <a:cxn ang="0">
                          <a:pos x="12" y="19"/>
                        </a:cxn>
                        <a:cxn ang="0">
                          <a:pos x="9" y="16"/>
                        </a:cxn>
                        <a:cxn ang="0">
                          <a:pos x="5" y="16"/>
                        </a:cxn>
                        <a:cxn ang="0">
                          <a:pos x="2" y="16"/>
                        </a:cxn>
                        <a:cxn ang="0">
                          <a:pos x="2" y="19"/>
                        </a:cxn>
                        <a:cxn ang="0">
                          <a:pos x="0" y="19"/>
                        </a:cxn>
                        <a:cxn ang="0">
                          <a:pos x="0" y="19"/>
                        </a:cxn>
                        <a:cxn ang="0">
                          <a:pos x="0" y="14"/>
                        </a:cxn>
                        <a:cxn ang="0">
                          <a:pos x="2" y="14"/>
                        </a:cxn>
                        <a:cxn ang="0">
                          <a:pos x="2" y="7"/>
                        </a:cxn>
                        <a:cxn ang="0">
                          <a:pos x="2" y="2"/>
                        </a:cxn>
                        <a:cxn ang="0">
                          <a:pos x="7" y="0"/>
                        </a:cxn>
                        <a:cxn ang="0">
                          <a:pos x="12" y="5"/>
                        </a:cxn>
                        <a:cxn ang="0">
                          <a:pos x="19" y="12"/>
                        </a:cxn>
                        <a:cxn ang="0">
                          <a:pos x="24" y="19"/>
                        </a:cxn>
                        <a:cxn ang="0">
                          <a:pos x="31" y="26"/>
                        </a:cxn>
                        <a:cxn ang="0">
                          <a:pos x="47" y="40"/>
                        </a:cxn>
                        <a:cxn ang="0">
                          <a:pos x="52" y="42"/>
                        </a:cxn>
                        <a:cxn ang="0">
                          <a:pos x="54" y="42"/>
                        </a:cxn>
                        <a:cxn ang="0">
                          <a:pos x="54" y="42"/>
                        </a:cxn>
                        <a:cxn ang="0">
                          <a:pos x="57" y="42"/>
                        </a:cxn>
                        <a:cxn ang="0">
                          <a:pos x="57" y="42"/>
                        </a:cxn>
                        <a:cxn ang="0">
                          <a:pos x="57" y="42"/>
                        </a:cxn>
                        <a:cxn ang="0">
                          <a:pos x="61" y="42"/>
                        </a:cxn>
                        <a:cxn ang="0">
                          <a:pos x="68" y="47"/>
                        </a:cxn>
                        <a:cxn ang="0">
                          <a:pos x="73" y="49"/>
                        </a:cxn>
                        <a:cxn ang="0">
                          <a:pos x="76" y="54"/>
                        </a:cxn>
                        <a:cxn ang="0">
                          <a:pos x="76" y="54"/>
                        </a:cxn>
                        <a:cxn ang="0">
                          <a:pos x="76" y="54"/>
                        </a:cxn>
                        <a:cxn ang="0">
                          <a:pos x="61" y="47"/>
                        </a:cxn>
                        <a:cxn ang="0">
                          <a:pos x="52" y="45"/>
                        </a:cxn>
                        <a:cxn ang="0">
                          <a:pos x="47" y="42"/>
                        </a:cxn>
                        <a:cxn ang="0">
                          <a:pos x="38" y="42"/>
                        </a:cxn>
                        <a:cxn ang="0">
                          <a:pos x="35" y="42"/>
                        </a:cxn>
                        <a:cxn ang="0">
                          <a:pos x="35" y="40"/>
                        </a:cxn>
                        <a:cxn ang="0">
                          <a:pos x="33" y="38"/>
                        </a:cxn>
                        <a:cxn ang="0">
                          <a:pos x="33" y="38"/>
                        </a:cxn>
                        <a:cxn ang="0">
                          <a:pos x="33" y="40"/>
                        </a:cxn>
                        <a:cxn ang="0">
                          <a:pos x="31" y="40"/>
                        </a:cxn>
                        <a:cxn ang="0">
                          <a:pos x="31" y="40"/>
                        </a:cxn>
                      </a:cxnLst>
                      <a:rect l="0" t="0" r="r" b="b"/>
                      <a:pathLst>
                        <a:path w="76" h="54">
                          <a:moveTo>
                            <a:pt x="31" y="40"/>
                          </a:moveTo>
                          <a:lnTo>
                            <a:pt x="28" y="40"/>
                          </a:lnTo>
                          <a:lnTo>
                            <a:pt x="28" y="40"/>
                          </a:lnTo>
                          <a:lnTo>
                            <a:pt x="31" y="33"/>
                          </a:lnTo>
                          <a:lnTo>
                            <a:pt x="31" y="33"/>
                          </a:lnTo>
                          <a:lnTo>
                            <a:pt x="19" y="23"/>
                          </a:lnTo>
                          <a:lnTo>
                            <a:pt x="19" y="23"/>
                          </a:lnTo>
                          <a:lnTo>
                            <a:pt x="12" y="19"/>
                          </a:lnTo>
                          <a:lnTo>
                            <a:pt x="12" y="19"/>
                          </a:lnTo>
                          <a:lnTo>
                            <a:pt x="9" y="16"/>
                          </a:lnTo>
                          <a:lnTo>
                            <a:pt x="9" y="16"/>
                          </a:lnTo>
                          <a:lnTo>
                            <a:pt x="5" y="16"/>
                          </a:lnTo>
                          <a:lnTo>
                            <a:pt x="5" y="16"/>
                          </a:lnTo>
                          <a:lnTo>
                            <a:pt x="2" y="16"/>
                          </a:lnTo>
                          <a:lnTo>
                            <a:pt x="2" y="16"/>
                          </a:lnTo>
                          <a:lnTo>
                            <a:pt x="2" y="19"/>
                          </a:lnTo>
                          <a:lnTo>
                            <a:pt x="2" y="19"/>
                          </a:lnTo>
                          <a:lnTo>
                            <a:pt x="0" y="19"/>
                          </a:lnTo>
                          <a:lnTo>
                            <a:pt x="0" y="19"/>
                          </a:lnTo>
                          <a:lnTo>
                            <a:pt x="0" y="19"/>
                          </a:lnTo>
                          <a:lnTo>
                            <a:pt x="0" y="19"/>
                          </a:lnTo>
                          <a:lnTo>
                            <a:pt x="0" y="14"/>
                          </a:lnTo>
                          <a:lnTo>
                            <a:pt x="0" y="14"/>
                          </a:lnTo>
                          <a:lnTo>
                            <a:pt x="2" y="14"/>
                          </a:lnTo>
                          <a:lnTo>
                            <a:pt x="2" y="14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12" y="5"/>
                          </a:lnTo>
                          <a:lnTo>
                            <a:pt x="12" y="5"/>
                          </a:lnTo>
                          <a:lnTo>
                            <a:pt x="19" y="12"/>
                          </a:lnTo>
                          <a:lnTo>
                            <a:pt x="19" y="12"/>
                          </a:lnTo>
                          <a:lnTo>
                            <a:pt x="24" y="19"/>
                          </a:lnTo>
                          <a:lnTo>
                            <a:pt x="24" y="19"/>
                          </a:lnTo>
                          <a:lnTo>
                            <a:pt x="31" y="26"/>
                          </a:lnTo>
                          <a:lnTo>
                            <a:pt x="31" y="26"/>
                          </a:lnTo>
                          <a:lnTo>
                            <a:pt x="47" y="40"/>
                          </a:lnTo>
                          <a:lnTo>
                            <a:pt x="47" y="40"/>
                          </a:lnTo>
                          <a:lnTo>
                            <a:pt x="52" y="42"/>
                          </a:lnTo>
                          <a:lnTo>
                            <a:pt x="52" y="42"/>
                          </a:lnTo>
                          <a:lnTo>
                            <a:pt x="54" y="42"/>
                          </a:lnTo>
                          <a:lnTo>
                            <a:pt x="54" y="42"/>
                          </a:lnTo>
                          <a:lnTo>
                            <a:pt x="54" y="42"/>
                          </a:lnTo>
                          <a:lnTo>
                            <a:pt x="54" y="42"/>
                          </a:lnTo>
                          <a:lnTo>
                            <a:pt x="57" y="42"/>
                          </a:lnTo>
                          <a:lnTo>
                            <a:pt x="57" y="42"/>
                          </a:lnTo>
                          <a:lnTo>
                            <a:pt x="57" y="42"/>
                          </a:lnTo>
                          <a:lnTo>
                            <a:pt x="57" y="42"/>
                          </a:lnTo>
                          <a:lnTo>
                            <a:pt x="57" y="42"/>
                          </a:lnTo>
                          <a:lnTo>
                            <a:pt x="57" y="42"/>
                          </a:lnTo>
                          <a:lnTo>
                            <a:pt x="61" y="42"/>
                          </a:lnTo>
                          <a:lnTo>
                            <a:pt x="61" y="42"/>
                          </a:lnTo>
                          <a:lnTo>
                            <a:pt x="68" y="47"/>
                          </a:lnTo>
                          <a:lnTo>
                            <a:pt x="68" y="47"/>
                          </a:lnTo>
                          <a:lnTo>
                            <a:pt x="73" y="49"/>
                          </a:lnTo>
                          <a:lnTo>
                            <a:pt x="73" y="49"/>
                          </a:lnTo>
                          <a:lnTo>
                            <a:pt x="76" y="54"/>
                          </a:lnTo>
                          <a:lnTo>
                            <a:pt x="76" y="54"/>
                          </a:lnTo>
                          <a:lnTo>
                            <a:pt x="76" y="54"/>
                          </a:lnTo>
                          <a:lnTo>
                            <a:pt x="76" y="54"/>
                          </a:lnTo>
                          <a:lnTo>
                            <a:pt x="76" y="54"/>
                          </a:lnTo>
                          <a:lnTo>
                            <a:pt x="76" y="54"/>
                          </a:lnTo>
                          <a:lnTo>
                            <a:pt x="61" y="47"/>
                          </a:lnTo>
                          <a:lnTo>
                            <a:pt x="61" y="47"/>
                          </a:lnTo>
                          <a:lnTo>
                            <a:pt x="52" y="45"/>
                          </a:lnTo>
                          <a:lnTo>
                            <a:pt x="52" y="45"/>
                          </a:lnTo>
                          <a:lnTo>
                            <a:pt x="47" y="42"/>
                          </a:lnTo>
                          <a:lnTo>
                            <a:pt x="47" y="42"/>
                          </a:lnTo>
                          <a:lnTo>
                            <a:pt x="38" y="42"/>
                          </a:lnTo>
                          <a:lnTo>
                            <a:pt x="38" y="42"/>
                          </a:lnTo>
                          <a:lnTo>
                            <a:pt x="35" y="42"/>
                          </a:lnTo>
                          <a:lnTo>
                            <a:pt x="35" y="42"/>
                          </a:lnTo>
                          <a:lnTo>
                            <a:pt x="35" y="40"/>
                          </a:lnTo>
                          <a:lnTo>
                            <a:pt x="35" y="40"/>
                          </a:lnTo>
                          <a:lnTo>
                            <a:pt x="33" y="38"/>
                          </a:lnTo>
                          <a:lnTo>
                            <a:pt x="33" y="38"/>
                          </a:lnTo>
                          <a:lnTo>
                            <a:pt x="33" y="38"/>
                          </a:lnTo>
                          <a:lnTo>
                            <a:pt x="33" y="38"/>
                          </a:lnTo>
                          <a:lnTo>
                            <a:pt x="33" y="40"/>
                          </a:lnTo>
                          <a:lnTo>
                            <a:pt x="33" y="40"/>
                          </a:lnTo>
                          <a:lnTo>
                            <a:pt x="31" y="40"/>
                          </a:lnTo>
                          <a:lnTo>
                            <a:pt x="31" y="40"/>
                          </a:lnTo>
                          <a:lnTo>
                            <a:pt x="31" y="40"/>
                          </a:lnTo>
                          <a:lnTo>
                            <a:pt x="31" y="40"/>
                          </a:lnTo>
                          <a:close/>
                        </a:path>
                      </a:pathLst>
                    </a:custGeom>
                    <a:solidFill>
                      <a:srgbClr val="0070C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10" name="Freeform 1135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744" y="1246"/>
                      <a:ext cx="24" cy="8"/>
                    </a:xfrm>
                    <a:custGeom>
                      <a:avLst/>
                      <a:gdLst/>
                      <a:ahLst/>
                      <a:cxnLst>
                        <a:cxn ang="0">
                          <a:pos x="7" y="7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3" y="2"/>
                        </a:cxn>
                        <a:cxn ang="0">
                          <a:pos x="3" y="2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12" y="2"/>
                        </a:cxn>
                        <a:cxn ang="0">
                          <a:pos x="12" y="2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9" y="2"/>
                        </a:cxn>
                        <a:cxn ang="0">
                          <a:pos x="19" y="2"/>
                        </a:cxn>
                        <a:cxn ang="0">
                          <a:pos x="21" y="2"/>
                        </a:cxn>
                        <a:cxn ang="0">
                          <a:pos x="21" y="2"/>
                        </a:cxn>
                        <a:cxn ang="0">
                          <a:pos x="21" y="4"/>
                        </a:cxn>
                        <a:cxn ang="0">
                          <a:pos x="21" y="4"/>
                        </a:cxn>
                        <a:cxn ang="0">
                          <a:pos x="21" y="4"/>
                        </a:cxn>
                        <a:cxn ang="0">
                          <a:pos x="21" y="4"/>
                        </a:cxn>
                        <a:cxn ang="0">
                          <a:pos x="21" y="4"/>
                        </a:cxn>
                        <a:cxn ang="0">
                          <a:pos x="21" y="4"/>
                        </a:cxn>
                        <a:cxn ang="0">
                          <a:pos x="17" y="4"/>
                        </a:cxn>
                        <a:cxn ang="0">
                          <a:pos x="17" y="4"/>
                        </a:cxn>
                        <a:cxn ang="0">
                          <a:pos x="10" y="7"/>
                        </a:cxn>
                        <a:cxn ang="0">
                          <a:pos x="10" y="7"/>
                        </a:cxn>
                        <a:cxn ang="0">
                          <a:pos x="10" y="7"/>
                        </a:cxn>
                        <a:cxn ang="0">
                          <a:pos x="10" y="7"/>
                        </a:cxn>
                        <a:cxn ang="0">
                          <a:pos x="10" y="7"/>
                        </a:cxn>
                        <a:cxn ang="0">
                          <a:pos x="10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</a:cxnLst>
                      <a:rect l="0" t="0" r="r" b="b"/>
                      <a:pathLst>
                        <a:path w="21" h="7">
                          <a:moveTo>
                            <a:pt x="7" y="7"/>
                          </a:move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12" y="2"/>
                          </a:lnTo>
                          <a:lnTo>
                            <a:pt x="12" y="2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9" y="2"/>
                          </a:lnTo>
                          <a:lnTo>
                            <a:pt x="19" y="2"/>
                          </a:lnTo>
                          <a:lnTo>
                            <a:pt x="21" y="2"/>
                          </a:lnTo>
                          <a:lnTo>
                            <a:pt x="21" y="2"/>
                          </a:lnTo>
                          <a:lnTo>
                            <a:pt x="21" y="4"/>
                          </a:lnTo>
                          <a:lnTo>
                            <a:pt x="21" y="4"/>
                          </a:lnTo>
                          <a:lnTo>
                            <a:pt x="21" y="4"/>
                          </a:lnTo>
                          <a:lnTo>
                            <a:pt x="21" y="4"/>
                          </a:lnTo>
                          <a:lnTo>
                            <a:pt x="21" y="4"/>
                          </a:lnTo>
                          <a:lnTo>
                            <a:pt x="21" y="4"/>
                          </a:lnTo>
                          <a:lnTo>
                            <a:pt x="17" y="4"/>
                          </a:lnTo>
                          <a:lnTo>
                            <a:pt x="17" y="4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11" name="Freeform 1136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655" y="1306"/>
                      <a:ext cx="57" cy="34"/>
                    </a:xfrm>
                    <a:custGeom>
                      <a:avLst/>
                      <a:gdLst/>
                      <a:ahLst/>
                      <a:cxnLst>
                        <a:cxn ang="0">
                          <a:pos x="10" y="28"/>
                        </a:cxn>
                        <a:cxn ang="0">
                          <a:pos x="10" y="21"/>
                        </a:cxn>
                        <a:cxn ang="0">
                          <a:pos x="10" y="18"/>
                        </a:cxn>
                        <a:cxn ang="0">
                          <a:pos x="7" y="14"/>
                        </a:cxn>
                        <a:cxn ang="0">
                          <a:pos x="5" y="11"/>
                        </a:cxn>
                        <a:cxn ang="0">
                          <a:pos x="3" y="9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3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10" y="0"/>
                        </a:cxn>
                        <a:cxn ang="0">
                          <a:pos x="10" y="2"/>
                        </a:cxn>
                        <a:cxn ang="0">
                          <a:pos x="17" y="4"/>
                        </a:cxn>
                        <a:cxn ang="0">
                          <a:pos x="19" y="4"/>
                        </a:cxn>
                        <a:cxn ang="0">
                          <a:pos x="19" y="7"/>
                        </a:cxn>
                        <a:cxn ang="0">
                          <a:pos x="22" y="11"/>
                        </a:cxn>
                        <a:cxn ang="0">
                          <a:pos x="22" y="11"/>
                        </a:cxn>
                        <a:cxn ang="0">
                          <a:pos x="22" y="14"/>
                        </a:cxn>
                        <a:cxn ang="0">
                          <a:pos x="24" y="14"/>
                        </a:cxn>
                        <a:cxn ang="0">
                          <a:pos x="24" y="14"/>
                        </a:cxn>
                        <a:cxn ang="0">
                          <a:pos x="31" y="18"/>
                        </a:cxn>
                        <a:cxn ang="0">
                          <a:pos x="31" y="18"/>
                        </a:cxn>
                        <a:cxn ang="0">
                          <a:pos x="33" y="18"/>
                        </a:cxn>
                        <a:cxn ang="0">
                          <a:pos x="36" y="18"/>
                        </a:cxn>
                        <a:cxn ang="0">
                          <a:pos x="40" y="18"/>
                        </a:cxn>
                        <a:cxn ang="0">
                          <a:pos x="50" y="21"/>
                        </a:cxn>
                        <a:cxn ang="0">
                          <a:pos x="50" y="21"/>
                        </a:cxn>
                        <a:cxn ang="0">
                          <a:pos x="50" y="21"/>
                        </a:cxn>
                        <a:cxn ang="0">
                          <a:pos x="43" y="28"/>
                        </a:cxn>
                        <a:cxn ang="0">
                          <a:pos x="36" y="30"/>
                        </a:cxn>
                        <a:cxn ang="0">
                          <a:pos x="36" y="30"/>
                        </a:cxn>
                        <a:cxn ang="0">
                          <a:pos x="36" y="28"/>
                        </a:cxn>
                        <a:cxn ang="0">
                          <a:pos x="26" y="30"/>
                        </a:cxn>
                        <a:cxn ang="0">
                          <a:pos x="17" y="26"/>
                        </a:cxn>
                        <a:cxn ang="0">
                          <a:pos x="14" y="23"/>
                        </a:cxn>
                        <a:cxn ang="0">
                          <a:pos x="14" y="26"/>
                        </a:cxn>
                        <a:cxn ang="0">
                          <a:pos x="12" y="28"/>
                        </a:cxn>
                        <a:cxn ang="0">
                          <a:pos x="10" y="28"/>
                        </a:cxn>
                        <a:cxn ang="0">
                          <a:pos x="10" y="28"/>
                        </a:cxn>
                        <a:cxn ang="0">
                          <a:pos x="10" y="28"/>
                        </a:cxn>
                      </a:cxnLst>
                      <a:rect l="0" t="0" r="r" b="b"/>
                      <a:pathLst>
                        <a:path w="50" h="30">
                          <a:moveTo>
                            <a:pt x="10" y="28"/>
                          </a:moveTo>
                          <a:lnTo>
                            <a:pt x="10" y="28"/>
                          </a:lnTo>
                          <a:lnTo>
                            <a:pt x="10" y="28"/>
                          </a:lnTo>
                          <a:lnTo>
                            <a:pt x="10" y="21"/>
                          </a:lnTo>
                          <a:lnTo>
                            <a:pt x="10" y="21"/>
                          </a:lnTo>
                          <a:lnTo>
                            <a:pt x="10" y="18"/>
                          </a:lnTo>
                          <a:lnTo>
                            <a:pt x="10" y="18"/>
                          </a:lnTo>
                          <a:lnTo>
                            <a:pt x="7" y="14"/>
                          </a:lnTo>
                          <a:lnTo>
                            <a:pt x="7" y="14"/>
                          </a:lnTo>
                          <a:lnTo>
                            <a:pt x="5" y="11"/>
                          </a:lnTo>
                          <a:lnTo>
                            <a:pt x="5" y="11"/>
                          </a:lnTo>
                          <a:lnTo>
                            <a:pt x="3" y="9"/>
                          </a:lnTo>
                          <a:lnTo>
                            <a:pt x="3" y="9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3" y="0"/>
                          </a:lnTo>
                          <a:lnTo>
                            <a:pt x="3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10" y="0"/>
                          </a:lnTo>
                          <a:lnTo>
                            <a:pt x="10" y="0"/>
                          </a:lnTo>
                          <a:lnTo>
                            <a:pt x="10" y="2"/>
                          </a:lnTo>
                          <a:lnTo>
                            <a:pt x="10" y="2"/>
                          </a:lnTo>
                          <a:lnTo>
                            <a:pt x="17" y="4"/>
                          </a:lnTo>
                          <a:lnTo>
                            <a:pt x="17" y="4"/>
                          </a:lnTo>
                          <a:lnTo>
                            <a:pt x="19" y="4"/>
                          </a:lnTo>
                          <a:lnTo>
                            <a:pt x="19" y="4"/>
                          </a:lnTo>
                          <a:lnTo>
                            <a:pt x="19" y="7"/>
                          </a:lnTo>
                          <a:lnTo>
                            <a:pt x="19" y="7"/>
                          </a:lnTo>
                          <a:lnTo>
                            <a:pt x="22" y="11"/>
                          </a:lnTo>
                          <a:lnTo>
                            <a:pt x="22" y="11"/>
                          </a:lnTo>
                          <a:lnTo>
                            <a:pt x="22" y="11"/>
                          </a:lnTo>
                          <a:lnTo>
                            <a:pt x="22" y="11"/>
                          </a:lnTo>
                          <a:lnTo>
                            <a:pt x="22" y="14"/>
                          </a:lnTo>
                          <a:lnTo>
                            <a:pt x="22" y="14"/>
                          </a:lnTo>
                          <a:lnTo>
                            <a:pt x="24" y="14"/>
                          </a:lnTo>
                          <a:lnTo>
                            <a:pt x="24" y="14"/>
                          </a:lnTo>
                          <a:lnTo>
                            <a:pt x="24" y="14"/>
                          </a:lnTo>
                          <a:lnTo>
                            <a:pt x="24" y="14"/>
                          </a:lnTo>
                          <a:lnTo>
                            <a:pt x="31" y="18"/>
                          </a:lnTo>
                          <a:lnTo>
                            <a:pt x="31" y="18"/>
                          </a:lnTo>
                          <a:lnTo>
                            <a:pt x="31" y="18"/>
                          </a:lnTo>
                          <a:lnTo>
                            <a:pt x="31" y="18"/>
                          </a:lnTo>
                          <a:lnTo>
                            <a:pt x="33" y="18"/>
                          </a:lnTo>
                          <a:lnTo>
                            <a:pt x="33" y="18"/>
                          </a:lnTo>
                          <a:lnTo>
                            <a:pt x="36" y="18"/>
                          </a:lnTo>
                          <a:lnTo>
                            <a:pt x="36" y="18"/>
                          </a:lnTo>
                          <a:lnTo>
                            <a:pt x="40" y="18"/>
                          </a:lnTo>
                          <a:lnTo>
                            <a:pt x="40" y="18"/>
                          </a:lnTo>
                          <a:lnTo>
                            <a:pt x="50" y="21"/>
                          </a:lnTo>
                          <a:lnTo>
                            <a:pt x="50" y="21"/>
                          </a:lnTo>
                          <a:lnTo>
                            <a:pt x="50" y="21"/>
                          </a:lnTo>
                          <a:lnTo>
                            <a:pt x="50" y="21"/>
                          </a:lnTo>
                          <a:lnTo>
                            <a:pt x="50" y="21"/>
                          </a:lnTo>
                          <a:lnTo>
                            <a:pt x="50" y="21"/>
                          </a:lnTo>
                          <a:lnTo>
                            <a:pt x="43" y="28"/>
                          </a:lnTo>
                          <a:lnTo>
                            <a:pt x="43" y="28"/>
                          </a:lnTo>
                          <a:lnTo>
                            <a:pt x="36" y="30"/>
                          </a:lnTo>
                          <a:lnTo>
                            <a:pt x="36" y="30"/>
                          </a:lnTo>
                          <a:lnTo>
                            <a:pt x="36" y="30"/>
                          </a:lnTo>
                          <a:lnTo>
                            <a:pt x="36" y="30"/>
                          </a:lnTo>
                          <a:lnTo>
                            <a:pt x="36" y="28"/>
                          </a:lnTo>
                          <a:lnTo>
                            <a:pt x="36" y="28"/>
                          </a:lnTo>
                          <a:lnTo>
                            <a:pt x="26" y="30"/>
                          </a:lnTo>
                          <a:lnTo>
                            <a:pt x="26" y="30"/>
                          </a:lnTo>
                          <a:lnTo>
                            <a:pt x="17" y="26"/>
                          </a:lnTo>
                          <a:lnTo>
                            <a:pt x="17" y="26"/>
                          </a:lnTo>
                          <a:lnTo>
                            <a:pt x="14" y="23"/>
                          </a:lnTo>
                          <a:lnTo>
                            <a:pt x="14" y="23"/>
                          </a:lnTo>
                          <a:lnTo>
                            <a:pt x="14" y="26"/>
                          </a:lnTo>
                          <a:lnTo>
                            <a:pt x="14" y="26"/>
                          </a:lnTo>
                          <a:lnTo>
                            <a:pt x="12" y="28"/>
                          </a:lnTo>
                          <a:lnTo>
                            <a:pt x="12" y="28"/>
                          </a:lnTo>
                          <a:lnTo>
                            <a:pt x="10" y="28"/>
                          </a:lnTo>
                          <a:lnTo>
                            <a:pt x="10" y="28"/>
                          </a:lnTo>
                          <a:lnTo>
                            <a:pt x="10" y="28"/>
                          </a:lnTo>
                          <a:lnTo>
                            <a:pt x="10" y="28"/>
                          </a:lnTo>
                          <a:lnTo>
                            <a:pt x="10" y="28"/>
                          </a:lnTo>
                          <a:lnTo>
                            <a:pt x="10" y="28"/>
                          </a:lnTo>
                          <a:close/>
                        </a:path>
                      </a:pathLst>
                    </a:custGeom>
                    <a:solidFill>
                      <a:srgbClr val="0070C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12" name="Freeform 1137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667" y="1326"/>
                      <a:ext cx="71" cy="12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07"/>
                        </a:cxn>
                        <a:cxn ang="0">
                          <a:pos x="0" y="97"/>
                        </a:cxn>
                        <a:cxn ang="0">
                          <a:pos x="4" y="95"/>
                        </a:cxn>
                        <a:cxn ang="0">
                          <a:pos x="7" y="97"/>
                        </a:cxn>
                        <a:cxn ang="0">
                          <a:pos x="9" y="97"/>
                        </a:cxn>
                        <a:cxn ang="0">
                          <a:pos x="12" y="95"/>
                        </a:cxn>
                        <a:cxn ang="0">
                          <a:pos x="16" y="85"/>
                        </a:cxn>
                        <a:cxn ang="0">
                          <a:pos x="16" y="85"/>
                        </a:cxn>
                        <a:cxn ang="0">
                          <a:pos x="14" y="83"/>
                        </a:cxn>
                        <a:cxn ang="0">
                          <a:pos x="19" y="78"/>
                        </a:cxn>
                        <a:cxn ang="0">
                          <a:pos x="26" y="76"/>
                        </a:cxn>
                        <a:cxn ang="0">
                          <a:pos x="28" y="74"/>
                        </a:cxn>
                        <a:cxn ang="0">
                          <a:pos x="30" y="69"/>
                        </a:cxn>
                        <a:cxn ang="0">
                          <a:pos x="28" y="64"/>
                        </a:cxn>
                        <a:cxn ang="0">
                          <a:pos x="30" y="64"/>
                        </a:cxn>
                        <a:cxn ang="0">
                          <a:pos x="40" y="62"/>
                        </a:cxn>
                        <a:cxn ang="0">
                          <a:pos x="42" y="55"/>
                        </a:cxn>
                        <a:cxn ang="0">
                          <a:pos x="45" y="52"/>
                        </a:cxn>
                        <a:cxn ang="0">
                          <a:pos x="52" y="52"/>
                        </a:cxn>
                        <a:cxn ang="0">
                          <a:pos x="56" y="50"/>
                        </a:cxn>
                        <a:cxn ang="0">
                          <a:pos x="59" y="43"/>
                        </a:cxn>
                        <a:cxn ang="0">
                          <a:pos x="59" y="38"/>
                        </a:cxn>
                        <a:cxn ang="0">
                          <a:pos x="52" y="26"/>
                        </a:cxn>
                        <a:cxn ang="0">
                          <a:pos x="49" y="29"/>
                        </a:cxn>
                        <a:cxn ang="0">
                          <a:pos x="45" y="29"/>
                        </a:cxn>
                        <a:cxn ang="0">
                          <a:pos x="35" y="24"/>
                        </a:cxn>
                        <a:cxn ang="0">
                          <a:pos x="35" y="22"/>
                        </a:cxn>
                        <a:cxn ang="0">
                          <a:pos x="38" y="19"/>
                        </a:cxn>
                        <a:cxn ang="0">
                          <a:pos x="45" y="10"/>
                        </a:cxn>
                        <a:cxn ang="0">
                          <a:pos x="47" y="3"/>
                        </a:cxn>
                        <a:cxn ang="0">
                          <a:pos x="49" y="5"/>
                        </a:cxn>
                        <a:cxn ang="0">
                          <a:pos x="52" y="5"/>
                        </a:cxn>
                        <a:cxn ang="0">
                          <a:pos x="59" y="3"/>
                        </a:cxn>
                        <a:cxn ang="0">
                          <a:pos x="61" y="0"/>
                        </a:cxn>
                        <a:cxn ang="0">
                          <a:pos x="63" y="0"/>
                        </a:cxn>
                        <a:cxn ang="0">
                          <a:pos x="63" y="5"/>
                        </a:cxn>
                        <a:cxn ang="0">
                          <a:pos x="61" y="12"/>
                        </a:cxn>
                        <a:cxn ang="0">
                          <a:pos x="63" y="38"/>
                        </a:cxn>
                        <a:cxn ang="0">
                          <a:pos x="59" y="50"/>
                        </a:cxn>
                        <a:cxn ang="0">
                          <a:pos x="47" y="67"/>
                        </a:cxn>
                        <a:cxn ang="0">
                          <a:pos x="42" y="76"/>
                        </a:cxn>
                        <a:cxn ang="0">
                          <a:pos x="38" y="78"/>
                        </a:cxn>
                        <a:cxn ang="0">
                          <a:pos x="30" y="81"/>
                        </a:cxn>
                        <a:cxn ang="0">
                          <a:pos x="21" y="85"/>
                        </a:cxn>
                        <a:cxn ang="0">
                          <a:pos x="19" y="93"/>
                        </a:cxn>
                        <a:cxn ang="0">
                          <a:pos x="14" y="100"/>
                        </a:cxn>
                        <a:cxn ang="0">
                          <a:pos x="9" y="100"/>
                        </a:cxn>
                        <a:cxn ang="0">
                          <a:pos x="4" y="102"/>
                        </a:cxn>
                        <a:cxn ang="0">
                          <a:pos x="0" y="109"/>
                        </a:cxn>
                      </a:cxnLst>
                      <a:rect l="0" t="0" r="r" b="b"/>
                      <a:pathLst>
                        <a:path w="63" h="109">
                          <a:moveTo>
                            <a:pt x="0" y="109"/>
                          </a:moveTo>
                          <a:lnTo>
                            <a:pt x="0" y="107"/>
                          </a:lnTo>
                          <a:lnTo>
                            <a:pt x="0" y="107"/>
                          </a:lnTo>
                          <a:lnTo>
                            <a:pt x="0" y="107"/>
                          </a:lnTo>
                          <a:lnTo>
                            <a:pt x="0" y="107"/>
                          </a:lnTo>
                          <a:lnTo>
                            <a:pt x="0" y="97"/>
                          </a:lnTo>
                          <a:lnTo>
                            <a:pt x="0" y="97"/>
                          </a:lnTo>
                          <a:lnTo>
                            <a:pt x="0" y="97"/>
                          </a:lnTo>
                          <a:lnTo>
                            <a:pt x="0" y="97"/>
                          </a:lnTo>
                          <a:lnTo>
                            <a:pt x="2" y="97"/>
                          </a:lnTo>
                          <a:lnTo>
                            <a:pt x="2" y="97"/>
                          </a:lnTo>
                          <a:lnTo>
                            <a:pt x="4" y="95"/>
                          </a:lnTo>
                          <a:lnTo>
                            <a:pt x="4" y="95"/>
                          </a:lnTo>
                          <a:lnTo>
                            <a:pt x="7" y="95"/>
                          </a:lnTo>
                          <a:lnTo>
                            <a:pt x="7" y="95"/>
                          </a:lnTo>
                          <a:lnTo>
                            <a:pt x="7" y="97"/>
                          </a:lnTo>
                          <a:lnTo>
                            <a:pt x="7" y="97"/>
                          </a:lnTo>
                          <a:lnTo>
                            <a:pt x="7" y="97"/>
                          </a:lnTo>
                          <a:lnTo>
                            <a:pt x="7" y="97"/>
                          </a:lnTo>
                          <a:lnTo>
                            <a:pt x="9" y="97"/>
                          </a:lnTo>
                          <a:lnTo>
                            <a:pt x="9" y="97"/>
                          </a:lnTo>
                          <a:lnTo>
                            <a:pt x="12" y="97"/>
                          </a:lnTo>
                          <a:lnTo>
                            <a:pt x="12" y="97"/>
                          </a:lnTo>
                          <a:lnTo>
                            <a:pt x="12" y="95"/>
                          </a:lnTo>
                          <a:lnTo>
                            <a:pt x="12" y="95"/>
                          </a:lnTo>
                          <a:lnTo>
                            <a:pt x="14" y="93"/>
                          </a:lnTo>
                          <a:lnTo>
                            <a:pt x="14" y="93"/>
                          </a:lnTo>
                          <a:lnTo>
                            <a:pt x="16" y="85"/>
                          </a:lnTo>
                          <a:lnTo>
                            <a:pt x="16" y="85"/>
                          </a:lnTo>
                          <a:lnTo>
                            <a:pt x="16" y="85"/>
                          </a:lnTo>
                          <a:lnTo>
                            <a:pt x="16" y="85"/>
                          </a:lnTo>
                          <a:lnTo>
                            <a:pt x="16" y="85"/>
                          </a:lnTo>
                          <a:lnTo>
                            <a:pt x="16" y="85"/>
                          </a:lnTo>
                          <a:lnTo>
                            <a:pt x="14" y="83"/>
                          </a:lnTo>
                          <a:lnTo>
                            <a:pt x="14" y="83"/>
                          </a:lnTo>
                          <a:lnTo>
                            <a:pt x="14" y="83"/>
                          </a:lnTo>
                          <a:lnTo>
                            <a:pt x="14" y="83"/>
                          </a:lnTo>
                          <a:lnTo>
                            <a:pt x="14" y="83"/>
                          </a:lnTo>
                          <a:lnTo>
                            <a:pt x="14" y="83"/>
                          </a:lnTo>
                          <a:lnTo>
                            <a:pt x="19" y="78"/>
                          </a:lnTo>
                          <a:lnTo>
                            <a:pt x="19" y="78"/>
                          </a:lnTo>
                          <a:lnTo>
                            <a:pt x="21" y="78"/>
                          </a:lnTo>
                          <a:lnTo>
                            <a:pt x="21" y="78"/>
                          </a:lnTo>
                          <a:lnTo>
                            <a:pt x="26" y="76"/>
                          </a:lnTo>
                          <a:lnTo>
                            <a:pt x="26" y="76"/>
                          </a:lnTo>
                          <a:lnTo>
                            <a:pt x="26" y="76"/>
                          </a:lnTo>
                          <a:lnTo>
                            <a:pt x="26" y="76"/>
                          </a:lnTo>
                          <a:lnTo>
                            <a:pt x="28" y="74"/>
                          </a:lnTo>
                          <a:lnTo>
                            <a:pt x="28" y="74"/>
                          </a:lnTo>
                          <a:lnTo>
                            <a:pt x="30" y="71"/>
                          </a:lnTo>
                          <a:lnTo>
                            <a:pt x="30" y="71"/>
                          </a:lnTo>
                          <a:lnTo>
                            <a:pt x="30" y="69"/>
                          </a:lnTo>
                          <a:lnTo>
                            <a:pt x="30" y="69"/>
                          </a:lnTo>
                          <a:lnTo>
                            <a:pt x="28" y="67"/>
                          </a:lnTo>
                          <a:lnTo>
                            <a:pt x="28" y="67"/>
                          </a:lnTo>
                          <a:lnTo>
                            <a:pt x="28" y="64"/>
                          </a:lnTo>
                          <a:lnTo>
                            <a:pt x="28" y="64"/>
                          </a:lnTo>
                          <a:lnTo>
                            <a:pt x="28" y="64"/>
                          </a:lnTo>
                          <a:lnTo>
                            <a:pt x="28" y="64"/>
                          </a:lnTo>
                          <a:lnTo>
                            <a:pt x="30" y="64"/>
                          </a:lnTo>
                          <a:lnTo>
                            <a:pt x="30" y="64"/>
                          </a:lnTo>
                          <a:lnTo>
                            <a:pt x="38" y="64"/>
                          </a:lnTo>
                          <a:lnTo>
                            <a:pt x="38" y="64"/>
                          </a:lnTo>
                          <a:lnTo>
                            <a:pt x="40" y="62"/>
                          </a:lnTo>
                          <a:lnTo>
                            <a:pt x="40" y="62"/>
                          </a:lnTo>
                          <a:lnTo>
                            <a:pt x="42" y="59"/>
                          </a:lnTo>
                          <a:lnTo>
                            <a:pt x="42" y="59"/>
                          </a:lnTo>
                          <a:lnTo>
                            <a:pt x="42" y="55"/>
                          </a:lnTo>
                          <a:lnTo>
                            <a:pt x="42" y="55"/>
                          </a:lnTo>
                          <a:lnTo>
                            <a:pt x="42" y="55"/>
                          </a:lnTo>
                          <a:lnTo>
                            <a:pt x="42" y="55"/>
                          </a:lnTo>
                          <a:lnTo>
                            <a:pt x="45" y="52"/>
                          </a:lnTo>
                          <a:lnTo>
                            <a:pt x="45" y="52"/>
                          </a:lnTo>
                          <a:lnTo>
                            <a:pt x="49" y="52"/>
                          </a:lnTo>
                          <a:lnTo>
                            <a:pt x="49" y="52"/>
                          </a:lnTo>
                          <a:lnTo>
                            <a:pt x="52" y="52"/>
                          </a:lnTo>
                          <a:lnTo>
                            <a:pt x="52" y="52"/>
                          </a:lnTo>
                          <a:lnTo>
                            <a:pt x="54" y="50"/>
                          </a:lnTo>
                          <a:lnTo>
                            <a:pt x="54" y="50"/>
                          </a:lnTo>
                          <a:lnTo>
                            <a:pt x="56" y="50"/>
                          </a:lnTo>
                          <a:lnTo>
                            <a:pt x="56" y="50"/>
                          </a:lnTo>
                          <a:lnTo>
                            <a:pt x="56" y="48"/>
                          </a:lnTo>
                          <a:lnTo>
                            <a:pt x="56" y="48"/>
                          </a:lnTo>
                          <a:lnTo>
                            <a:pt x="59" y="43"/>
                          </a:lnTo>
                          <a:lnTo>
                            <a:pt x="59" y="43"/>
                          </a:lnTo>
                          <a:lnTo>
                            <a:pt x="59" y="41"/>
                          </a:lnTo>
                          <a:lnTo>
                            <a:pt x="59" y="41"/>
                          </a:lnTo>
                          <a:lnTo>
                            <a:pt x="59" y="38"/>
                          </a:lnTo>
                          <a:lnTo>
                            <a:pt x="59" y="38"/>
                          </a:lnTo>
                          <a:lnTo>
                            <a:pt x="59" y="33"/>
                          </a:lnTo>
                          <a:lnTo>
                            <a:pt x="59" y="33"/>
                          </a:lnTo>
                          <a:lnTo>
                            <a:pt x="52" y="26"/>
                          </a:lnTo>
                          <a:lnTo>
                            <a:pt x="52" y="26"/>
                          </a:lnTo>
                          <a:lnTo>
                            <a:pt x="52" y="26"/>
                          </a:lnTo>
                          <a:lnTo>
                            <a:pt x="52" y="26"/>
                          </a:lnTo>
                          <a:lnTo>
                            <a:pt x="49" y="29"/>
                          </a:lnTo>
                          <a:lnTo>
                            <a:pt x="49" y="29"/>
                          </a:lnTo>
                          <a:lnTo>
                            <a:pt x="47" y="29"/>
                          </a:lnTo>
                          <a:lnTo>
                            <a:pt x="47" y="29"/>
                          </a:lnTo>
                          <a:lnTo>
                            <a:pt x="45" y="29"/>
                          </a:lnTo>
                          <a:lnTo>
                            <a:pt x="45" y="29"/>
                          </a:lnTo>
                          <a:lnTo>
                            <a:pt x="40" y="29"/>
                          </a:lnTo>
                          <a:lnTo>
                            <a:pt x="40" y="29"/>
                          </a:lnTo>
                          <a:lnTo>
                            <a:pt x="35" y="24"/>
                          </a:lnTo>
                          <a:lnTo>
                            <a:pt x="35" y="24"/>
                          </a:lnTo>
                          <a:lnTo>
                            <a:pt x="35" y="24"/>
                          </a:lnTo>
                          <a:lnTo>
                            <a:pt x="35" y="24"/>
                          </a:lnTo>
                          <a:lnTo>
                            <a:pt x="35" y="22"/>
                          </a:lnTo>
                          <a:lnTo>
                            <a:pt x="35" y="22"/>
                          </a:lnTo>
                          <a:lnTo>
                            <a:pt x="35" y="19"/>
                          </a:lnTo>
                          <a:lnTo>
                            <a:pt x="35" y="19"/>
                          </a:lnTo>
                          <a:lnTo>
                            <a:pt x="38" y="19"/>
                          </a:lnTo>
                          <a:lnTo>
                            <a:pt x="38" y="19"/>
                          </a:lnTo>
                          <a:lnTo>
                            <a:pt x="40" y="17"/>
                          </a:lnTo>
                          <a:lnTo>
                            <a:pt x="40" y="17"/>
                          </a:lnTo>
                          <a:lnTo>
                            <a:pt x="45" y="10"/>
                          </a:lnTo>
                          <a:lnTo>
                            <a:pt x="45" y="10"/>
                          </a:lnTo>
                          <a:lnTo>
                            <a:pt x="47" y="8"/>
                          </a:lnTo>
                          <a:lnTo>
                            <a:pt x="47" y="8"/>
                          </a:lnTo>
                          <a:lnTo>
                            <a:pt x="47" y="3"/>
                          </a:lnTo>
                          <a:lnTo>
                            <a:pt x="47" y="3"/>
                          </a:lnTo>
                          <a:lnTo>
                            <a:pt x="49" y="3"/>
                          </a:lnTo>
                          <a:lnTo>
                            <a:pt x="49" y="3"/>
                          </a:lnTo>
                          <a:lnTo>
                            <a:pt x="49" y="5"/>
                          </a:lnTo>
                          <a:lnTo>
                            <a:pt x="49" y="5"/>
                          </a:lnTo>
                          <a:lnTo>
                            <a:pt x="52" y="5"/>
                          </a:lnTo>
                          <a:lnTo>
                            <a:pt x="52" y="5"/>
                          </a:lnTo>
                          <a:lnTo>
                            <a:pt x="52" y="5"/>
                          </a:lnTo>
                          <a:lnTo>
                            <a:pt x="52" y="5"/>
                          </a:lnTo>
                          <a:lnTo>
                            <a:pt x="54" y="5"/>
                          </a:lnTo>
                          <a:lnTo>
                            <a:pt x="54" y="5"/>
                          </a:lnTo>
                          <a:lnTo>
                            <a:pt x="59" y="3"/>
                          </a:lnTo>
                          <a:lnTo>
                            <a:pt x="59" y="3"/>
                          </a:lnTo>
                          <a:lnTo>
                            <a:pt x="61" y="0"/>
                          </a:lnTo>
                          <a:lnTo>
                            <a:pt x="61" y="0"/>
                          </a:lnTo>
                          <a:lnTo>
                            <a:pt x="61" y="0"/>
                          </a:lnTo>
                          <a:lnTo>
                            <a:pt x="61" y="0"/>
                          </a:lnTo>
                          <a:lnTo>
                            <a:pt x="63" y="0"/>
                          </a:lnTo>
                          <a:lnTo>
                            <a:pt x="63" y="0"/>
                          </a:lnTo>
                          <a:lnTo>
                            <a:pt x="63" y="0"/>
                          </a:lnTo>
                          <a:lnTo>
                            <a:pt x="63" y="0"/>
                          </a:lnTo>
                          <a:lnTo>
                            <a:pt x="63" y="3"/>
                          </a:lnTo>
                          <a:lnTo>
                            <a:pt x="63" y="3"/>
                          </a:lnTo>
                          <a:lnTo>
                            <a:pt x="63" y="5"/>
                          </a:lnTo>
                          <a:lnTo>
                            <a:pt x="63" y="5"/>
                          </a:lnTo>
                          <a:lnTo>
                            <a:pt x="61" y="8"/>
                          </a:lnTo>
                          <a:lnTo>
                            <a:pt x="61" y="8"/>
                          </a:lnTo>
                          <a:lnTo>
                            <a:pt x="61" y="12"/>
                          </a:lnTo>
                          <a:lnTo>
                            <a:pt x="61" y="12"/>
                          </a:lnTo>
                          <a:lnTo>
                            <a:pt x="63" y="36"/>
                          </a:lnTo>
                          <a:lnTo>
                            <a:pt x="63" y="36"/>
                          </a:lnTo>
                          <a:lnTo>
                            <a:pt x="63" y="38"/>
                          </a:lnTo>
                          <a:lnTo>
                            <a:pt x="63" y="38"/>
                          </a:lnTo>
                          <a:lnTo>
                            <a:pt x="61" y="48"/>
                          </a:lnTo>
                          <a:lnTo>
                            <a:pt x="61" y="48"/>
                          </a:lnTo>
                          <a:lnTo>
                            <a:pt x="59" y="50"/>
                          </a:lnTo>
                          <a:lnTo>
                            <a:pt x="59" y="50"/>
                          </a:lnTo>
                          <a:lnTo>
                            <a:pt x="52" y="55"/>
                          </a:lnTo>
                          <a:lnTo>
                            <a:pt x="52" y="55"/>
                          </a:lnTo>
                          <a:lnTo>
                            <a:pt x="47" y="67"/>
                          </a:lnTo>
                          <a:lnTo>
                            <a:pt x="47" y="67"/>
                          </a:lnTo>
                          <a:lnTo>
                            <a:pt x="45" y="74"/>
                          </a:lnTo>
                          <a:lnTo>
                            <a:pt x="45" y="74"/>
                          </a:lnTo>
                          <a:lnTo>
                            <a:pt x="42" y="76"/>
                          </a:lnTo>
                          <a:lnTo>
                            <a:pt x="42" y="76"/>
                          </a:lnTo>
                          <a:lnTo>
                            <a:pt x="40" y="78"/>
                          </a:lnTo>
                          <a:lnTo>
                            <a:pt x="40" y="78"/>
                          </a:lnTo>
                          <a:lnTo>
                            <a:pt x="38" y="78"/>
                          </a:lnTo>
                          <a:lnTo>
                            <a:pt x="38" y="78"/>
                          </a:lnTo>
                          <a:lnTo>
                            <a:pt x="33" y="81"/>
                          </a:lnTo>
                          <a:lnTo>
                            <a:pt x="33" y="81"/>
                          </a:lnTo>
                          <a:lnTo>
                            <a:pt x="30" y="81"/>
                          </a:lnTo>
                          <a:lnTo>
                            <a:pt x="30" y="81"/>
                          </a:lnTo>
                          <a:lnTo>
                            <a:pt x="21" y="85"/>
                          </a:lnTo>
                          <a:lnTo>
                            <a:pt x="21" y="85"/>
                          </a:lnTo>
                          <a:lnTo>
                            <a:pt x="21" y="85"/>
                          </a:lnTo>
                          <a:lnTo>
                            <a:pt x="21" y="85"/>
                          </a:lnTo>
                          <a:lnTo>
                            <a:pt x="21" y="88"/>
                          </a:lnTo>
                          <a:lnTo>
                            <a:pt x="21" y="88"/>
                          </a:lnTo>
                          <a:lnTo>
                            <a:pt x="19" y="93"/>
                          </a:lnTo>
                          <a:lnTo>
                            <a:pt x="19" y="93"/>
                          </a:lnTo>
                          <a:lnTo>
                            <a:pt x="19" y="93"/>
                          </a:lnTo>
                          <a:lnTo>
                            <a:pt x="19" y="93"/>
                          </a:lnTo>
                          <a:lnTo>
                            <a:pt x="14" y="100"/>
                          </a:lnTo>
                          <a:lnTo>
                            <a:pt x="14" y="100"/>
                          </a:lnTo>
                          <a:lnTo>
                            <a:pt x="12" y="100"/>
                          </a:lnTo>
                          <a:lnTo>
                            <a:pt x="12" y="100"/>
                          </a:lnTo>
                          <a:lnTo>
                            <a:pt x="9" y="100"/>
                          </a:lnTo>
                          <a:lnTo>
                            <a:pt x="9" y="100"/>
                          </a:lnTo>
                          <a:lnTo>
                            <a:pt x="7" y="102"/>
                          </a:lnTo>
                          <a:lnTo>
                            <a:pt x="7" y="102"/>
                          </a:lnTo>
                          <a:lnTo>
                            <a:pt x="4" y="102"/>
                          </a:lnTo>
                          <a:lnTo>
                            <a:pt x="4" y="102"/>
                          </a:lnTo>
                          <a:lnTo>
                            <a:pt x="2" y="107"/>
                          </a:lnTo>
                          <a:lnTo>
                            <a:pt x="2" y="107"/>
                          </a:lnTo>
                          <a:lnTo>
                            <a:pt x="0" y="109"/>
                          </a:lnTo>
                          <a:lnTo>
                            <a:pt x="0" y="109"/>
                          </a:lnTo>
                          <a:lnTo>
                            <a:pt x="0" y="109"/>
                          </a:lnTo>
                          <a:lnTo>
                            <a:pt x="0" y="109"/>
                          </a:lnTo>
                          <a:close/>
                        </a:path>
                      </a:pathLst>
                    </a:custGeom>
                    <a:solidFill>
                      <a:srgbClr val="0070C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13" name="Freeform 1138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651" y="1343"/>
                      <a:ext cx="16" cy="26"/>
                    </a:xfrm>
                    <a:custGeom>
                      <a:avLst/>
                      <a:gdLst/>
                      <a:ahLst/>
                      <a:cxnLst>
                        <a:cxn ang="0">
                          <a:pos x="2" y="23"/>
                        </a:cxn>
                        <a:cxn ang="0">
                          <a:pos x="0" y="23"/>
                        </a:cxn>
                        <a:cxn ang="0">
                          <a:pos x="0" y="23"/>
                        </a:cxn>
                        <a:cxn ang="0">
                          <a:pos x="0" y="21"/>
                        </a:cxn>
                        <a:cxn ang="0">
                          <a:pos x="0" y="21"/>
                        </a:cxn>
                        <a:cxn ang="0">
                          <a:pos x="2" y="16"/>
                        </a:cxn>
                        <a:cxn ang="0">
                          <a:pos x="2" y="16"/>
                        </a:cxn>
                        <a:cxn ang="0">
                          <a:pos x="2" y="14"/>
                        </a:cxn>
                        <a:cxn ang="0">
                          <a:pos x="2" y="14"/>
                        </a:cxn>
                        <a:cxn ang="0">
                          <a:pos x="4" y="11"/>
                        </a:cxn>
                        <a:cxn ang="0">
                          <a:pos x="4" y="11"/>
                        </a:cxn>
                        <a:cxn ang="0">
                          <a:pos x="7" y="9"/>
                        </a:cxn>
                        <a:cxn ang="0">
                          <a:pos x="7" y="9"/>
                        </a:cxn>
                        <a:cxn ang="0">
                          <a:pos x="9" y="7"/>
                        </a:cxn>
                        <a:cxn ang="0">
                          <a:pos x="9" y="7"/>
                        </a:cxn>
                        <a:cxn ang="0">
                          <a:pos x="11" y="2"/>
                        </a:cxn>
                        <a:cxn ang="0">
                          <a:pos x="11" y="2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4" y="4"/>
                        </a:cxn>
                        <a:cxn ang="0">
                          <a:pos x="14" y="4"/>
                        </a:cxn>
                        <a:cxn ang="0">
                          <a:pos x="9" y="11"/>
                        </a:cxn>
                        <a:cxn ang="0">
                          <a:pos x="9" y="11"/>
                        </a:cxn>
                        <a:cxn ang="0">
                          <a:pos x="7" y="14"/>
                        </a:cxn>
                        <a:cxn ang="0">
                          <a:pos x="7" y="14"/>
                        </a:cxn>
                        <a:cxn ang="0">
                          <a:pos x="4" y="16"/>
                        </a:cxn>
                        <a:cxn ang="0">
                          <a:pos x="4" y="16"/>
                        </a:cxn>
                        <a:cxn ang="0">
                          <a:pos x="4" y="18"/>
                        </a:cxn>
                        <a:cxn ang="0">
                          <a:pos x="4" y="18"/>
                        </a:cxn>
                        <a:cxn ang="0">
                          <a:pos x="4" y="21"/>
                        </a:cxn>
                        <a:cxn ang="0">
                          <a:pos x="4" y="21"/>
                        </a:cxn>
                        <a:cxn ang="0">
                          <a:pos x="2" y="23"/>
                        </a:cxn>
                        <a:cxn ang="0">
                          <a:pos x="2" y="23"/>
                        </a:cxn>
                        <a:cxn ang="0">
                          <a:pos x="2" y="23"/>
                        </a:cxn>
                        <a:cxn ang="0">
                          <a:pos x="2" y="23"/>
                        </a:cxn>
                        <a:cxn ang="0">
                          <a:pos x="2" y="23"/>
                        </a:cxn>
                        <a:cxn ang="0">
                          <a:pos x="2" y="23"/>
                        </a:cxn>
                        <a:cxn ang="0">
                          <a:pos x="2" y="23"/>
                        </a:cxn>
                        <a:cxn ang="0">
                          <a:pos x="2" y="23"/>
                        </a:cxn>
                      </a:cxnLst>
                      <a:rect l="0" t="0" r="r" b="b"/>
                      <a:pathLst>
                        <a:path w="14" h="23">
                          <a:moveTo>
                            <a:pt x="2" y="23"/>
                          </a:moveTo>
                          <a:lnTo>
                            <a:pt x="0" y="23"/>
                          </a:lnTo>
                          <a:lnTo>
                            <a:pt x="0" y="23"/>
                          </a:lnTo>
                          <a:lnTo>
                            <a:pt x="0" y="21"/>
                          </a:lnTo>
                          <a:lnTo>
                            <a:pt x="0" y="21"/>
                          </a:lnTo>
                          <a:lnTo>
                            <a:pt x="2" y="16"/>
                          </a:lnTo>
                          <a:lnTo>
                            <a:pt x="2" y="16"/>
                          </a:lnTo>
                          <a:lnTo>
                            <a:pt x="2" y="14"/>
                          </a:lnTo>
                          <a:lnTo>
                            <a:pt x="2" y="14"/>
                          </a:lnTo>
                          <a:lnTo>
                            <a:pt x="4" y="11"/>
                          </a:lnTo>
                          <a:lnTo>
                            <a:pt x="4" y="11"/>
                          </a:lnTo>
                          <a:lnTo>
                            <a:pt x="7" y="9"/>
                          </a:lnTo>
                          <a:lnTo>
                            <a:pt x="7" y="9"/>
                          </a:lnTo>
                          <a:lnTo>
                            <a:pt x="9" y="7"/>
                          </a:lnTo>
                          <a:lnTo>
                            <a:pt x="9" y="7"/>
                          </a:lnTo>
                          <a:lnTo>
                            <a:pt x="11" y="2"/>
                          </a:lnTo>
                          <a:lnTo>
                            <a:pt x="11" y="2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4"/>
                          </a:lnTo>
                          <a:lnTo>
                            <a:pt x="14" y="4"/>
                          </a:lnTo>
                          <a:lnTo>
                            <a:pt x="9" y="11"/>
                          </a:lnTo>
                          <a:lnTo>
                            <a:pt x="9" y="11"/>
                          </a:lnTo>
                          <a:lnTo>
                            <a:pt x="7" y="14"/>
                          </a:lnTo>
                          <a:lnTo>
                            <a:pt x="7" y="14"/>
                          </a:lnTo>
                          <a:lnTo>
                            <a:pt x="4" y="16"/>
                          </a:lnTo>
                          <a:lnTo>
                            <a:pt x="4" y="16"/>
                          </a:lnTo>
                          <a:lnTo>
                            <a:pt x="4" y="18"/>
                          </a:lnTo>
                          <a:lnTo>
                            <a:pt x="4" y="18"/>
                          </a:lnTo>
                          <a:lnTo>
                            <a:pt x="4" y="21"/>
                          </a:lnTo>
                          <a:lnTo>
                            <a:pt x="4" y="21"/>
                          </a:lnTo>
                          <a:lnTo>
                            <a:pt x="2" y="23"/>
                          </a:lnTo>
                          <a:lnTo>
                            <a:pt x="2" y="23"/>
                          </a:lnTo>
                          <a:lnTo>
                            <a:pt x="2" y="23"/>
                          </a:lnTo>
                          <a:lnTo>
                            <a:pt x="2" y="23"/>
                          </a:lnTo>
                          <a:lnTo>
                            <a:pt x="2" y="23"/>
                          </a:lnTo>
                          <a:lnTo>
                            <a:pt x="2" y="23"/>
                          </a:lnTo>
                          <a:lnTo>
                            <a:pt x="2" y="23"/>
                          </a:lnTo>
                          <a:lnTo>
                            <a:pt x="2" y="23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14" name="Freeform 1139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777" y="1353"/>
                      <a:ext cx="5" cy="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4" y="2"/>
                        </a:cxn>
                        <a:cxn ang="0">
                          <a:pos x="4" y="2"/>
                        </a:cxn>
                        <a:cxn ang="0">
                          <a:pos x="2" y="5"/>
                        </a:cxn>
                        <a:cxn ang="0">
                          <a:pos x="2" y="5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</a:cxnLst>
                      <a:rect l="0" t="0" r="r" b="b"/>
                      <a:pathLst>
                        <a:path w="4" h="7">
                          <a:moveTo>
                            <a:pt x="0" y="7"/>
                          </a:move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4" y="2"/>
                          </a:lnTo>
                          <a:lnTo>
                            <a:pt x="4" y="2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15" name="Freeform 1140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852" y="1389"/>
                      <a:ext cx="70" cy="3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"/>
                        </a:cxn>
                        <a:cxn ang="0">
                          <a:pos x="0" y="14"/>
                        </a:cxn>
                        <a:cxn ang="0">
                          <a:pos x="2" y="9"/>
                        </a:cxn>
                        <a:cxn ang="0">
                          <a:pos x="4" y="4"/>
                        </a:cxn>
                        <a:cxn ang="0">
                          <a:pos x="4" y="0"/>
                        </a:cxn>
                        <a:cxn ang="0">
                          <a:pos x="19" y="2"/>
                        </a:cxn>
                        <a:cxn ang="0">
                          <a:pos x="19" y="2"/>
                        </a:cxn>
                        <a:cxn ang="0">
                          <a:pos x="23" y="7"/>
                        </a:cxn>
                        <a:cxn ang="0">
                          <a:pos x="28" y="9"/>
                        </a:cxn>
                        <a:cxn ang="0">
                          <a:pos x="40" y="9"/>
                        </a:cxn>
                        <a:cxn ang="0">
                          <a:pos x="47" y="12"/>
                        </a:cxn>
                        <a:cxn ang="0">
                          <a:pos x="59" y="19"/>
                        </a:cxn>
                        <a:cxn ang="0">
                          <a:pos x="61" y="21"/>
                        </a:cxn>
                        <a:cxn ang="0">
                          <a:pos x="61" y="23"/>
                        </a:cxn>
                        <a:cxn ang="0">
                          <a:pos x="61" y="26"/>
                        </a:cxn>
                        <a:cxn ang="0">
                          <a:pos x="59" y="28"/>
                        </a:cxn>
                        <a:cxn ang="0">
                          <a:pos x="56" y="30"/>
                        </a:cxn>
                        <a:cxn ang="0">
                          <a:pos x="54" y="30"/>
                        </a:cxn>
                        <a:cxn ang="0">
                          <a:pos x="52" y="28"/>
                        </a:cxn>
                        <a:cxn ang="0">
                          <a:pos x="42" y="19"/>
                        </a:cxn>
                        <a:cxn ang="0">
                          <a:pos x="40" y="16"/>
                        </a:cxn>
                        <a:cxn ang="0">
                          <a:pos x="26" y="16"/>
                        </a:cxn>
                        <a:cxn ang="0">
                          <a:pos x="23" y="16"/>
                        </a:cxn>
                        <a:cxn ang="0">
                          <a:pos x="21" y="16"/>
                        </a:cxn>
                        <a:cxn ang="0">
                          <a:pos x="21" y="16"/>
                        </a:cxn>
                        <a:cxn ang="0">
                          <a:pos x="19" y="16"/>
                        </a:cxn>
                        <a:cxn ang="0">
                          <a:pos x="14" y="21"/>
                        </a:cxn>
                        <a:cxn ang="0">
                          <a:pos x="14" y="21"/>
                        </a:cxn>
                        <a:cxn ang="0">
                          <a:pos x="12" y="19"/>
                        </a:cxn>
                        <a:cxn ang="0">
                          <a:pos x="9" y="16"/>
                        </a:cxn>
                        <a:cxn ang="0">
                          <a:pos x="7" y="16"/>
                        </a:cxn>
                        <a:cxn ang="0">
                          <a:pos x="4" y="16"/>
                        </a:cxn>
                        <a:cxn ang="0">
                          <a:pos x="2" y="16"/>
                        </a:cxn>
                        <a:cxn ang="0">
                          <a:pos x="0" y="16"/>
                        </a:cxn>
                        <a:cxn ang="0">
                          <a:pos x="0" y="16"/>
                        </a:cxn>
                        <a:cxn ang="0">
                          <a:pos x="0" y="16"/>
                        </a:cxn>
                      </a:cxnLst>
                      <a:rect l="0" t="0" r="r" b="b"/>
                      <a:pathLst>
                        <a:path w="61" h="30">
                          <a:moveTo>
                            <a:pt x="0" y="16"/>
                          </a:moveTo>
                          <a:lnTo>
                            <a:pt x="0" y="14"/>
                          </a:lnTo>
                          <a:lnTo>
                            <a:pt x="0" y="14"/>
                          </a:lnTo>
                          <a:lnTo>
                            <a:pt x="0" y="14"/>
                          </a:lnTo>
                          <a:lnTo>
                            <a:pt x="0" y="14"/>
                          </a:lnTo>
                          <a:lnTo>
                            <a:pt x="2" y="9"/>
                          </a:lnTo>
                          <a:lnTo>
                            <a:pt x="2" y="9"/>
                          </a:lnTo>
                          <a:lnTo>
                            <a:pt x="4" y="4"/>
                          </a:lnTo>
                          <a:lnTo>
                            <a:pt x="4" y="4"/>
                          </a:lnTo>
                          <a:lnTo>
                            <a:pt x="4" y="0"/>
                          </a:lnTo>
                          <a:lnTo>
                            <a:pt x="4" y="0"/>
                          </a:lnTo>
                          <a:lnTo>
                            <a:pt x="19" y="2"/>
                          </a:lnTo>
                          <a:lnTo>
                            <a:pt x="19" y="2"/>
                          </a:lnTo>
                          <a:lnTo>
                            <a:pt x="19" y="2"/>
                          </a:lnTo>
                          <a:lnTo>
                            <a:pt x="19" y="2"/>
                          </a:lnTo>
                          <a:lnTo>
                            <a:pt x="23" y="7"/>
                          </a:lnTo>
                          <a:lnTo>
                            <a:pt x="23" y="7"/>
                          </a:lnTo>
                          <a:lnTo>
                            <a:pt x="28" y="9"/>
                          </a:lnTo>
                          <a:lnTo>
                            <a:pt x="28" y="9"/>
                          </a:lnTo>
                          <a:lnTo>
                            <a:pt x="40" y="9"/>
                          </a:lnTo>
                          <a:lnTo>
                            <a:pt x="40" y="9"/>
                          </a:lnTo>
                          <a:lnTo>
                            <a:pt x="47" y="12"/>
                          </a:lnTo>
                          <a:lnTo>
                            <a:pt x="47" y="12"/>
                          </a:lnTo>
                          <a:lnTo>
                            <a:pt x="59" y="19"/>
                          </a:lnTo>
                          <a:lnTo>
                            <a:pt x="59" y="19"/>
                          </a:lnTo>
                          <a:lnTo>
                            <a:pt x="61" y="21"/>
                          </a:lnTo>
                          <a:lnTo>
                            <a:pt x="61" y="21"/>
                          </a:lnTo>
                          <a:lnTo>
                            <a:pt x="61" y="23"/>
                          </a:lnTo>
                          <a:lnTo>
                            <a:pt x="61" y="23"/>
                          </a:lnTo>
                          <a:lnTo>
                            <a:pt x="61" y="26"/>
                          </a:lnTo>
                          <a:lnTo>
                            <a:pt x="61" y="26"/>
                          </a:lnTo>
                          <a:lnTo>
                            <a:pt x="59" y="28"/>
                          </a:lnTo>
                          <a:lnTo>
                            <a:pt x="59" y="28"/>
                          </a:lnTo>
                          <a:lnTo>
                            <a:pt x="56" y="30"/>
                          </a:lnTo>
                          <a:lnTo>
                            <a:pt x="56" y="30"/>
                          </a:lnTo>
                          <a:lnTo>
                            <a:pt x="54" y="30"/>
                          </a:lnTo>
                          <a:lnTo>
                            <a:pt x="54" y="30"/>
                          </a:lnTo>
                          <a:lnTo>
                            <a:pt x="52" y="28"/>
                          </a:lnTo>
                          <a:lnTo>
                            <a:pt x="52" y="28"/>
                          </a:lnTo>
                          <a:lnTo>
                            <a:pt x="42" y="19"/>
                          </a:lnTo>
                          <a:lnTo>
                            <a:pt x="42" y="19"/>
                          </a:lnTo>
                          <a:lnTo>
                            <a:pt x="40" y="16"/>
                          </a:lnTo>
                          <a:lnTo>
                            <a:pt x="40" y="16"/>
                          </a:lnTo>
                          <a:lnTo>
                            <a:pt x="26" y="16"/>
                          </a:lnTo>
                          <a:lnTo>
                            <a:pt x="26" y="16"/>
                          </a:lnTo>
                          <a:lnTo>
                            <a:pt x="23" y="16"/>
                          </a:lnTo>
                          <a:lnTo>
                            <a:pt x="23" y="16"/>
                          </a:lnTo>
                          <a:lnTo>
                            <a:pt x="21" y="16"/>
                          </a:lnTo>
                          <a:lnTo>
                            <a:pt x="21" y="16"/>
                          </a:lnTo>
                          <a:lnTo>
                            <a:pt x="21" y="16"/>
                          </a:lnTo>
                          <a:lnTo>
                            <a:pt x="21" y="16"/>
                          </a:lnTo>
                          <a:lnTo>
                            <a:pt x="19" y="16"/>
                          </a:lnTo>
                          <a:lnTo>
                            <a:pt x="19" y="16"/>
                          </a:lnTo>
                          <a:lnTo>
                            <a:pt x="14" y="21"/>
                          </a:lnTo>
                          <a:lnTo>
                            <a:pt x="14" y="21"/>
                          </a:lnTo>
                          <a:lnTo>
                            <a:pt x="14" y="21"/>
                          </a:lnTo>
                          <a:lnTo>
                            <a:pt x="14" y="21"/>
                          </a:lnTo>
                          <a:lnTo>
                            <a:pt x="12" y="19"/>
                          </a:lnTo>
                          <a:lnTo>
                            <a:pt x="12" y="19"/>
                          </a:lnTo>
                          <a:lnTo>
                            <a:pt x="9" y="16"/>
                          </a:lnTo>
                          <a:lnTo>
                            <a:pt x="9" y="16"/>
                          </a:lnTo>
                          <a:lnTo>
                            <a:pt x="7" y="16"/>
                          </a:lnTo>
                          <a:lnTo>
                            <a:pt x="7" y="16"/>
                          </a:lnTo>
                          <a:lnTo>
                            <a:pt x="4" y="16"/>
                          </a:lnTo>
                          <a:lnTo>
                            <a:pt x="4" y="16"/>
                          </a:lnTo>
                          <a:lnTo>
                            <a:pt x="2" y="16"/>
                          </a:lnTo>
                          <a:lnTo>
                            <a:pt x="2" y="16"/>
                          </a:lnTo>
                          <a:lnTo>
                            <a:pt x="0" y="16"/>
                          </a:lnTo>
                          <a:lnTo>
                            <a:pt x="0" y="16"/>
                          </a:lnTo>
                          <a:lnTo>
                            <a:pt x="0" y="16"/>
                          </a:lnTo>
                          <a:lnTo>
                            <a:pt x="0" y="16"/>
                          </a:lnTo>
                          <a:lnTo>
                            <a:pt x="0" y="16"/>
                          </a:lnTo>
                          <a:lnTo>
                            <a:pt x="0" y="16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16" name="Freeform 1141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427" y="1426"/>
                      <a:ext cx="9" cy="2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6"/>
                        </a:cxn>
                        <a:cxn ang="0">
                          <a:pos x="0" y="12"/>
                        </a:cxn>
                        <a:cxn ang="0">
                          <a:pos x="0" y="12"/>
                        </a:cxn>
                        <a:cxn ang="0">
                          <a:pos x="0" y="12"/>
                        </a:cxn>
                        <a:cxn ang="0">
                          <a:pos x="3" y="12"/>
                        </a:cxn>
                        <a:cxn ang="0">
                          <a:pos x="3" y="12"/>
                        </a:cxn>
                        <a:cxn ang="0">
                          <a:pos x="3" y="12"/>
                        </a:cxn>
                        <a:cxn ang="0">
                          <a:pos x="3" y="12"/>
                        </a:cxn>
                        <a:cxn ang="0">
                          <a:pos x="3" y="12"/>
                        </a:cxn>
                        <a:cxn ang="0">
                          <a:pos x="3" y="9"/>
                        </a:cxn>
                        <a:cxn ang="0">
                          <a:pos x="3" y="9"/>
                        </a:cxn>
                        <a:cxn ang="0">
                          <a:pos x="3" y="9"/>
                        </a:cxn>
                        <a:cxn ang="0">
                          <a:pos x="3" y="7"/>
                        </a:cxn>
                        <a:cxn ang="0">
                          <a:pos x="0" y="5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3" y="5"/>
                        </a:cxn>
                        <a:cxn ang="0">
                          <a:pos x="3" y="12"/>
                        </a:cxn>
                        <a:cxn ang="0">
                          <a:pos x="3" y="12"/>
                        </a:cxn>
                        <a:cxn ang="0">
                          <a:pos x="5" y="12"/>
                        </a:cxn>
                        <a:cxn ang="0">
                          <a:pos x="8" y="16"/>
                        </a:cxn>
                        <a:cxn ang="0">
                          <a:pos x="5" y="19"/>
                        </a:cxn>
                        <a:cxn ang="0">
                          <a:pos x="5" y="19"/>
                        </a:cxn>
                        <a:cxn ang="0">
                          <a:pos x="5" y="16"/>
                        </a:cxn>
                        <a:cxn ang="0">
                          <a:pos x="5" y="16"/>
                        </a:cxn>
                        <a:cxn ang="0">
                          <a:pos x="5" y="16"/>
                        </a:cxn>
                        <a:cxn ang="0">
                          <a:pos x="5" y="16"/>
                        </a:cxn>
                        <a:cxn ang="0">
                          <a:pos x="3" y="16"/>
                        </a:cxn>
                        <a:cxn ang="0">
                          <a:pos x="3" y="19"/>
                        </a:cxn>
                        <a:cxn ang="0">
                          <a:pos x="3" y="19"/>
                        </a:cxn>
                      </a:cxnLst>
                      <a:rect l="0" t="0" r="r" b="b"/>
                      <a:pathLst>
                        <a:path w="8" h="19">
                          <a:moveTo>
                            <a:pt x="3" y="19"/>
                          </a:moveTo>
                          <a:lnTo>
                            <a:pt x="0" y="16"/>
                          </a:lnTo>
                          <a:lnTo>
                            <a:pt x="0" y="16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3" y="12"/>
                          </a:lnTo>
                          <a:lnTo>
                            <a:pt x="3" y="12"/>
                          </a:lnTo>
                          <a:lnTo>
                            <a:pt x="3" y="12"/>
                          </a:lnTo>
                          <a:lnTo>
                            <a:pt x="3" y="12"/>
                          </a:lnTo>
                          <a:lnTo>
                            <a:pt x="3" y="12"/>
                          </a:lnTo>
                          <a:lnTo>
                            <a:pt x="3" y="12"/>
                          </a:lnTo>
                          <a:lnTo>
                            <a:pt x="3" y="12"/>
                          </a:lnTo>
                          <a:lnTo>
                            <a:pt x="3" y="12"/>
                          </a:lnTo>
                          <a:lnTo>
                            <a:pt x="3" y="12"/>
                          </a:lnTo>
                          <a:lnTo>
                            <a:pt x="3" y="12"/>
                          </a:lnTo>
                          <a:lnTo>
                            <a:pt x="3" y="9"/>
                          </a:lnTo>
                          <a:lnTo>
                            <a:pt x="3" y="9"/>
                          </a:lnTo>
                          <a:lnTo>
                            <a:pt x="3" y="9"/>
                          </a:lnTo>
                          <a:lnTo>
                            <a:pt x="3" y="9"/>
                          </a:lnTo>
                          <a:lnTo>
                            <a:pt x="3" y="9"/>
                          </a:lnTo>
                          <a:lnTo>
                            <a:pt x="3" y="9"/>
                          </a:lnTo>
                          <a:lnTo>
                            <a:pt x="3" y="7"/>
                          </a:lnTo>
                          <a:lnTo>
                            <a:pt x="3" y="7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3" y="5"/>
                          </a:lnTo>
                          <a:lnTo>
                            <a:pt x="3" y="5"/>
                          </a:lnTo>
                          <a:lnTo>
                            <a:pt x="3" y="12"/>
                          </a:lnTo>
                          <a:lnTo>
                            <a:pt x="3" y="12"/>
                          </a:lnTo>
                          <a:lnTo>
                            <a:pt x="3" y="12"/>
                          </a:lnTo>
                          <a:lnTo>
                            <a:pt x="3" y="12"/>
                          </a:lnTo>
                          <a:lnTo>
                            <a:pt x="5" y="12"/>
                          </a:lnTo>
                          <a:lnTo>
                            <a:pt x="5" y="12"/>
                          </a:lnTo>
                          <a:lnTo>
                            <a:pt x="8" y="16"/>
                          </a:lnTo>
                          <a:lnTo>
                            <a:pt x="8" y="16"/>
                          </a:lnTo>
                          <a:lnTo>
                            <a:pt x="5" y="19"/>
                          </a:lnTo>
                          <a:lnTo>
                            <a:pt x="5" y="19"/>
                          </a:lnTo>
                          <a:lnTo>
                            <a:pt x="5" y="19"/>
                          </a:lnTo>
                          <a:lnTo>
                            <a:pt x="5" y="19"/>
                          </a:lnTo>
                          <a:lnTo>
                            <a:pt x="5" y="16"/>
                          </a:lnTo>
                          <a:lnTo>
                            <a:pt x="5" y="16"/>
                          </a:lnTo>
                          <a:lnTo>
                            <a:pt x="5" y="16"/>
                          </a:lnTo>
                          <a:lnTo>
                            <a:pt x="5" y="16"/>
                          </a:lnTo>
                          <a:lnTo>
                            <a:pt x="5" y="16"/>
                          </a:lnTo>
                          <a:lnTo>
                            <a:pt x="5" y="16"/>
                          </a:lnTo>
                          <a:lnTo>
                            <a:pt x="5" y="16"/>
                          </a:lnTo>
                          <a:lnTo>
                            <a:pt x="5" y="16"/>
                          </a:lnTo>
                          <a:lnTo>
                            <a:pt x="3" y="16"/>
                          </a:lnTo>
                          <a:lnTo>
                            <a:pt x="3" y="16"/>
                          </a:lnTo>
                          <a:lnTo>
                            <a:pt x="3" y="19"/>
                          </a:lnTo>
                          <a:lnTo>
                            <a:pt x="3" y="19"/>
                          </a:lnTo>
                          <a:lnTo>
                            <a:pt x="3" y="19"/>
                          </a:lnTo>
                          <a:lnTo>
                            <a:pt x="3" y="19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17" name="Freeform 1142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3034" y="1493"/>
                      <a:ext cx="30" cy="30"/>
                    </a:xfrm>
                    <a:custGeom>
                      <a:avLst/>
                      <a:gdLst/>
                      <a:ahLst/>
                      <a:cxnLst>
                        <a:cxn ang="0">
                          <a:pos x="22" y="26"/>
                        </a:cxn>
                        <a:cxn ang="0">
                          <a:pos x="15" y="21"/>
                        </a:cxn>
                        <a:cxn ang="0">
                          <a:pos x="15" y="21"/>
                        </a:cxn>
                        <a:cxn ang="0">
                          <a:pos x="12" y="16"/>
                        </a:cxn>
                        <a:cxn ang="0">
                          <a:pos x="12" y="16"/>
                        </a:cxn>
                        <a:cxn ang="0">
                          <a:pos x="10" y="14"/>
                        </a:cxn>
                        <a:cxn ang="0">
                          <a:pos x="10" y="14"/>
                        </a:cxn>
                        <a:cxn ang="0">
                          <a:pos x="7" y="14"/>
                        </a:cxn>
                        <a:cxn ang="0">
                          <a:pos x="7" y="14"/>
                        </a:cxn>
                        <a:cxn ang="0">
                          <a:pos x="3" y="12"/>
                        </a:cxn>
                        <a:cxn ang="0">
                          <a:pos x="3" y="12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3" y="2"/>
                        </a:cxn>
                        <a:cxn ang="0">
                          <a:pos x="3" y="2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10" y="0"/>
                        </a:cxn>
                        <a:cxn ang="0">
                          <a:pos x="10" y="0"/>
                        </a:cxn>
                        <a:cxn ang="0">
                          <a:pos x="15" y="2"/>
                        </a:cxn>
                        <a:cxn ang="0">
                          <a:pos x="15" y="2"/>
                        </a:cxn>
                        <a:cxn ang="0">
                          <a:pos x="17" y="2"/>
                        </a:cxn>
                        <a:cxn ang="0">
                          <a:pos x="17" y="2"/>
                        </a:cxn>
                        <a:cxn ang="0">
                          <a:pos x="19" y="5"/>
                        </a:cxn>
                        <a:cxn ang="0">
                          <a:pos x="19" y="5"/>
                        </a:cxn>
                        <a:cxn ang="0">
                          <a:pos x="19" y="9"/>
                        </a:cxn>
                        <a:cxn ang="0">
                          <a:pos x="19" y="9"/>
                        </a:cxn>
                        <a:cxn ang="0">
                          <a:pos x="19" y="16"/>
                        </a:cxn>
                        <a:cxn ang="0">
                          <a:pos x="19" y="16"/>
                        </a:cxn>
                        <a:cxn ang="0">
                          <a:pos x="22" y="21"/>
                        </a:cxn>
                        <a:cxn ang="0">
                          <a:pos x="22" y="21"/>
                        </a:cxn>
                        <a:cxn ang="0">
                          <a:pos x="24" y="21"/>
                        </a:cxn>
                        <a:cxn ang="0">
                          <a:pos x="24" y="21"/>
                        </a:cxn>
                        <a:cxn ang="0">
                          <a:pos x="26" y="24"/>
                        </a:cxn>
                        <a:cxn ang="0">
                          <a:pos x="26" y="24"/>
                        </a:cxn>
                        <a:cxn ang="0">
                          <a:pos x="26" y="24"/>
                        </a:cxn>
                        <a:cxn ang="0">
                          <a:pos x="26" y="24"/>
                        </a:cxn>
                        <a:cxn ang="0">
                          <a:pos x="26" y="24"/>
                        </a:cxn>
                        <a:cxn ang="0">
                          <a:pos x="26" y="24"/>
                        </a:cxn>
                        <a:cxn ang="0">
                          <a:pos x="26" y="24"/>
                        </a:cxn>
                        <a:cxn ang="0">
                          <a:pos x="26" y="24"/>
                        </a:cxn>
                        <a:cxn ang="0">
                          <a:pos x="24" y="26"/>
                        </a:cxn>
                        <a:cxn ang="0">
                          <a:pos x="24" y="26"/>
                        </a:cxn>
                        <a:cxn ang="0">
                          <a:pos x="24" y="26"/>
                        </a:cxn>
                        <a:cxn ang="0">
                          <a:pos x="24" y="26"/>
                        </a:cxn>
                        <a:cxn ang="0">
                          <a:pos x="22" y="26"/>
                        </a:cxn>
                        <a:cxn ang="0">
                          <a:pos x="22" y="26"/>
                        </a:cxn>
                        <a:cxn ang="0">
                          <a:pos x="22" y="26"/>
                        </a:cxn>
                        <a:cxn ang="0">
                          <a:pos x="22" y="26"/>
                        </a:cxn>
                      </a:cxnLst>
                      <a:rect l="0" t="0" r="r" b="b"/>
                      <a:pathLst>
                        <a:path w="26" h="26">
                          <a:moveTo>
                            <a:pt x="22" y="26"/>
                          </a:moveTo>
                          <a:lnTo>
                            <a:pt x="15" y="21"/>
                          </a:lnTo>
                          <a:lnTo>
                            <a:pt x="15" y="21"/>
                          </a:lnTo>
                          <a:lnTo>
                            <a:pt x="12" y="16"/>
                          </a:lnTo>
                          <a:lnTo>
                            <a:pt x="12" y="16"/>
                          </a:lnTo>
                          <a:lnTo>
                            <a:pt x="10" y="14"/>
                          </a:lnTo>
                          <a:lnTo>
                            <a:pt x="10" y="14"/>
                          </a:lnTo>
                          <a:lnTo>
                            <a:pt x="7" y="14"/>
                          </a:lnTo>
                          <a:lnTo>
                            <a:pt x="7" y="14"/>
                          </a:lnTo>
                          <a:lnTo>
                            <a:pt x="3" y="12"/>
                          </a:lnTo>
                          <a:lnTo>
                            <a:pt x="3" y="12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10" y="0"/>
                          </a:lnTo>
                          <a:lnTo>
                            <a:pt x="10" y="0"/>
                          </a:lnTo>
                          <a:lnTo>
                            <a:pt x="15" y="2"/>
                          </a:lnTo>
                          <a:lnTo>
                            <a:pt x="15" y="2"/>
                          </a:lnTo>
                          <a:lnTo>
                            <a:pt x="17" y="2"/>
                          </a:lnTo>
                          <a:lnTo>
                            <a:pt x="17" y="2"/>
                          </a:lnTo>
                          <a:lnTo>
                            <a:pt x="19" y="5"/>
                          </a:lnTo>
                          <a:lnTo>
                            <a:pt x="19" y="5"/>
                          </a:lnTo>
                          <a:lnTo>
                            <a:pt x="19" y="9"/>
                          </a:lnTo>
                          <a:lnTo>
                            <a:pt x="19" y="9"/>
                          </a:lnTo>
                          <a:lnTo>
                            <a:pt x="19" y="16"/>
                          </a:lnTo>
                          <a:lnTo>
                            <a:pt x="19" y="16"/>
                          </a:lnTo>
                          <a:lnTo>
                            <a:pt x="22" y="21"/>
                          </a:lnTo>
                          <a:lnTo>
                            <a:pt x="22" y="21"/>
                          </a:lnTo>
                          <a:lnTo>
                            <a:pt x="24" y="21"/>
                          </a:lnTo>
                          <a:lnTo>
                            <a:pt x="24" y="21"/>
                          </a:lnTo>
                          <a:lnTo>
                            <a:pt x="26" y="24"/>
                          </a:lnTo>
                          <a:lnTo>
                            <a:pt x="26" y="24"/>
                          </a:lnTo>
                          <a:lnTo>
                            <a:pt x="26" y="24"/>
                          </a:lnTo>
                          <a:lnTo>
                            <a:pt x="26" y="24"/>
                          </a:lnTo>
                          <a:lnTo>
                            <a:pt x="26" y="24"/>
                          </a:lnTo>
                          <a:lnTo>
                            <a:pt x="26" y="24"/>
                          </a:lnTo>
                          <a:lnTo>
                            <a:pt x="26" y="24"/>
                          </a:lnTo>
                          <a:lnTo>
                            <a:pt x="26" y="24"/>
                          </a:lnTo>
                          <a:lnTo>
                            <a:pt x="24" y="26"/>
                          </a:lnTo>
                          <a:lnTo>
                            <a:pt x="24" y="26"/>
                          </a:lnTo>
                          <a:lnTo>
                            <a:pt x="24" y="26"/>
                          </a:lnTo>
                          <a:lnTo>
                            <a:pt x="24" y="26"/>
                          </a:lnTo>
                          <a:lnTo>
                            <a:pt x="22" y="26"/>
                          </a:lnTo>
                          <a:lnTo>
                            <a:pt x="22" y="26"/>
                          </a:lnTo>
                          <a:lnTo>
                            <a:pt x="22" y="26"/>
                          </a:lnTo>
                          <a:lnTo>
                            <a:pt x="22" y="26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18" name="Freeform 1143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986" y="1515"/>
                      <a:ext cx="36" cy="26"/>
                    </a:xfrm>
                    <a:custGeom>
                      <a:avLst/>
                      <a:gdLst/>
                      <a:ahLst/>
                      <a:cxnLst>
                        <a:cxn ang="0">
                          <a:pos x="9" y="23"/>
                        </a:cxn>
                        <a:cxn ang="0">
                          <a:pos x="2" y="16"/>
                        </a:cxn>
                        <a:cxn ang="0">
                          <a:pos x="2" y="16"/>
                        </a:cxn>
                        <a:cxn ang="0">
                          <a:pos x="0" y="9"/>
                        </a:cxn>
                        <a:cxn ang="0">
                          <a:pos x="0" y="9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12" y="12"/>
                        </a:cxn>
                        <a:cxn ang="0">
                          <a:pos x="12" y="12"/>
                        </a:cxn>
                        <a:cxn ang="0">
                          <a:pos x="12" y="14"/>
                        </a:cxn>
                        <a:cxn ang="0">
                          <a:pos x="12" y="14"/>
                        </a:cxn>
                        <a:cxn ang="0">
                          <a:pos x="16" y="14"/>
                        </a:cxn>
                        <a:cxn ang="0">
                          <a:pos x="16" y="14"/>
                        </a:cxn>
                        <a:cxn ang="0">
                          <a:pos x="19" y="14"/>
                        </a:cxn>
                        <a:cxn ang="0">
                          <a:pos x="19" y="14"/>
                        </a:cxn>
                        <a:cxn ang="0">
                          <a:pos x="21" y="14"/>
                        </a:cxn>
                        <a:cxn ang="0">
                          <a:pos x="21" y="14"/>
                        </a:cxn>
                        <a:cxn ang="0">
                          <a:pos x="23" y="12"/>
                        </a:cxn>
                        <a:cxn ang="0">
                          <a:pos x="23" y="12"/>
                        </a:cxn>
                        <a:cxn ang="0">
                          <a:pos x="28" y="7"/>
                        </a:cxn>
                        <a:cxn ang="0">
                          <a:pos x="28" y="7"/>
                        </a:cxn>
                        <a:cxn ang="0">
                          <a:pos x="28" y="7"/>
                        </a:cxn>
                        <a:cxn ang="0">
                          <a:pos x="28" y="7"/>
                        </a:cxn>
                        <a:cxn ang="0">
                          <a:pos x="31" y="9"/>
                        </a:cxn>
                        <a:cxn ang="0">
                          <a:pos x="31" y="9"/>
                        </a:cxn>
                        <a:cxn ang="0">
                          <a:pos x="31" y="12"/>
                        </a:cxn>
                        <a:cxn ang="0">
                          <a:pos x="31" y="12"/>
                        </a:cxn>
                        <a:cxn ang="0">
                          <a:pos x="26" y="19"/>
                        </a:cxn>
                        <a:cxn ang="0">
                          <a:pos x="26" y="19"/>
                        </a:cxn>
                        <a:cxn ang="0">
                          <a:pos x="26" y="19"/>
                        </a:cxn>
                        <a:cxn ang="0">
                          <a:pos x="26" y="19"/>
                        </a:cxn>
                        <a:cxn ang="0">
                          <a:pos x="23" y="19"/>
                        </a:cxn>
                        <a:cxn ang="0">
                          <a:pos x="23" y="19"/>
                        </a:cxn>
                        <a:cxn ang="0">
                          <a:pos x="21" y="19"/>
                        </a:cxn>
                        <a:cxn ang="0">
                          <a:pos x="21" y="19"/>
                        </a:cxn>
                        <a:cxn ang="0">
                          <a:pos x="14" y="19"/>
                        </a:cxn>
                        <a:cxn ang="0">
                          <a:pos x="14" y="19"/>
                        </a:cxn>
                        <a:cxn ang="0">
                          <a:pos x="12" y="21"/>
                        </a:cxn>
                        <a:cxn ang="0">
                          <a:pos x="12" y="21"/>
                        </a:cxn>
                        <a:cxn ang="0">
                          <a:pos x="12" y="23"/>
                        </a:cxn>
                        <a:cxn ang="0">
                          <a:pos x="12" y="23"/>
                        </a:cxn>
                        <a:cxn ang="0">
                          <a:pos x="9" y="23"/>
                        </a:cxn>
                        <a:cxn ang="0">
                          <a:pos x="9" y="23"/>
                        </a:cxn>
                        <a:cxn ang="0">
                          <a:pos x="9" y="23"/>
                        </a:cxn>
                        <a:cxn ang="0">
                          <a:pos x="9" y="23"/>
                        </a:cxn>
                      </a:cxnLst>
                      <a:rect l="0" t="0" r="r" b="b"/>
                      <a:pathLst>
                        <a:path w="31" h="23">
                          <a:moveTo>
                            <a:pt x="9" y="23"/>
                          </a:moveTo>
                          <a:lnTo>
                            <a:pt x="2" y="16"/>
                          </a:lnTo>
                          <a:lnTo>
                            <a:pt x="2" y="16"/>
                          </a:lnTo>
                          <a:lnTo>
                            <a:pt x="0" y="9"/>
                          </a:lnTo>
                          <a:lnTo>
                            <a:pt x="0" y="9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12" y="12"/>
                          </a:lnTo>
                          <a:lnTo>
                            <a:pt x="12" y="12"/>
                          </a:lnTo>
                          <a:lnTo>
                            <a:pt x="12" y="14"/>
                          </a:lnTo>
                          <a:lnTo>
                            <a:pt x="12" y="14"/>
                          </a:lnTo>
                          <a:lnTo>
                            <a:pt x="16" y="14"/>
                          </a:lnTo>
                          <a:lnTo>
                            <a:pt x="16" y="14"/>
                          </a:lnTo>
                          <a:lnTo>
                            <a:pt x="19" y="14"/>
                          </a:lnTo>
                          <a:lnTo>
                            <a:pt x="19" y="14"/>
                          </a:lnTo>
                          <a:lnTo>
                            <a:pt x="21" y="14"/>
                          </a:lnTo>
                          <a:lnTo>
                            <a:pt x="21" y="14"/>
                          </a:lnTo>
                          <a:lnTo>
                            <a:pt x="23" y="12"/>
                          </a:lnTo>
                          <a:lnTo>
                            <a:pt x="23" y="12"/>
                          </a:lnTo>
                          <a:lnTo>
                            <a:pt x="28" y="7"/>
                          </a:lnTo>
                          <a:lnTo>
                            <a:pt x="28" y="7"/>
                          </a:lnTo>
                          <a:lnTo>
                            <a:pt x="28" y="7"/>
                          </a:lnTo>
                          <a:lnTo>
                            <a:pt x="28" y="7"/>
                          </a:lnTo>
                          <a:lnTo>
                            <a:pt x="31" y="9"/>
                          </a:lnTo>
                          <a:lnTo>
                            <a:pt x="31" y="9"/>
                          </a:lnTo>
                          <a:lnTo>
                            <a:pt x="31" y="12"/>
                          </a:lnTo>
                          <a:lnTo>
                            <a:pt x="31" y="12"/>
                          </a:lnTo>
                          <a:lnTo>
                            <a:pt x="26" y="19"/>
                          </a:lnTo>
                          <a:lnTo>
                            <a:pt x="26" y="19"/>
                          </a:lnTo>
                          <a:lnTo>
                            <a:pt x="26" y="19"/>
                          </a:lnTo>
                          <a:lnTo>
                            <a:pt x="26" y="19"/>
                          </a:lnTo>
                          <a:lnTo>
                            <a:pt x="23" y="19"/>
                          </a:lnTo>
                          <a:lnTo>
                            <a:pt x="23" y="19"/>
                          </a:lnTo>
                          <a:lnTo>
                            <a:pt x="21" y="19"/>
                          </a:lnTo>
                          <a:lnTo>
                            <a:pt x="21" y="19"/>
                          </a:lnTo>
                          <a:lnTo>
                            <a:pt x="14" y="19"/>
                          </a:lnTo>
                          <a:lnTo>
                            <a:pt x="14" y="19"/>
                          </a:lnTo>
                          <a:lnTo>
                            <a:pt x="12" y="21"/>
                          </a:lnTo>
                          <a:lnTo>
                            <a:pt x="12" y="21"/>
                          </a:lnTo>
                          <a:lnTo>
                            <a:pt x="12" y="23"/>
                          </a:lnTo>
                          <a:lnTo>
                            <a:pt x="12" y="23"/>
                          </a:lnTo>
                          <a:lnTo>
                            <a:pt x="9" y="23"/>
                          </a:lnTo>
                          <a:lnTo>
                            <a:pt x="9" y="23"/>
                          </a:lnTo>
                          <a:lnTo>
                            <a:pt x="9" y="23"/>
                          </a:lnTo>
                          <a:lnTo>
                            <a:pt x="9" y="23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19" name="Freeform 1144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3067" y="1517"/>
                      <a:ext cx="32" cy="19"/>
                    </a:xfrm>
                    <a:custGeom>
                      <a:avLst/>
                      <a:gdLst/>
                      <a:ahLst/>
                      <a:cxnLst>
                        <a:cxn ang="0">
                          <a:pos x="4" y="17"/>
                        </a:cxn>
                        <a:cxn ang="0">
                          <a:pos x="2" y="14"/>
                        </a:cxn>
                        <a:cxn ang="0">
                          <a:pos x="2" y="14"/>
                        </a:cxn>
                        <a:cxn ang="0">
                          <a:pos x="0" y="10"/>
                        </a:cxn>
                        <a:cxn ang="0">
                          <a:pos x="0" y="10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2" y="5"/>
                        </a:cxn>
                        <a:cxn ang="0">
                          <a:pos x="2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4" y="3"/>
                        </a:cxn>
                        <a:cxn ang="0">
                          <a:pos x="4" y="3"/>
                        </a:cxn>
                        <a:cxn ang="0">
                          <a:pos x="7" y="3"/>
                        </a:cxn>
                        <a:cxn ang="0">
                          <a:pos x="7" y="3"/>
                        </a:cxn>
                        <a:cxn ang="0">
                          <a:pos x="19" y="5"/>
                        </a:cxn>
                        <a:cxn ang="0">
                          <a:pos x="19" y="5"/>
                        </a:cxn>
                        <a:cxn ang="0">
                          <a:pos x="19" y="5"/>
                        </a:cxn>
                        <a:cxn ang="0">
                          <a:pos x="19" y="5"/>
                        </a:cxn>
                        <a:cxn ang="0">
                          <a:pos x="21" y="3"/>
                        </a:cxn>
                        <a:cxn ang="0">
                          <a:pos x="21" y="3"/>
                        </a:cxn>
                        <a:cxn ang="0">
                          <a:pos x="21" y="3"/>
                        </a:cxn>
                        <a:cxn ang="0">
                          <a:pos x="21" y="3"/>
                        </a:cxn>
                        <a:cxn ang="0">
                          <a:pos x="26" y="3"/>
                        </a:cxn>
                        <a:cxn ang="0">
                          <a:pos x="26" y="3"/>
                        </a:cxn>
                        <a:cxn ang="0">
                          <a:pos x="28" y="7"/>
                        </a:cxn>
                        <a:cxn ang="0">
                          <a:pos x="28" y="7"/>
                        </a:cxn>
                        <a:cxn ang="0">
                          <a:pos x="28" y="12"/>
                        </a:cxn>
                        <a:cxn ang="0">
                          <a:pos x="28" y="12"/>
                        </a:cxn>
                        <a:cxn ang="0">
                          <a:pos x="23" y="17"/>
                        </a:cxn>
                        <a:cxn ang="0">
                          <a:pos x="23" y="17"/>
                        </a:cxn>
                        <a:cxn ang="0">
                          <a:pos x="19" y="14"/>
                        </a:cxn>
                        <a:cxn ang="0">
                          <a:pos x="19" y="14"/>
                        </a:cxn>
                        <a:cxn ang="0">
                          <a:pos x="11" y="12"/>
                        </a:cxn>
                        <a:cxn ang="0">
                          <a:pos x="11" y="12"/>
                        </a:cxn>
                        <a:cxn ang="0">
                          <a:pos x="9" y="14"/>
                        </a:cxn>
                        <a:cxn ang="0">
                          <a:pos x="9" y="14"/>
                        </a:cxn>
                        <a:cxn ang="0">
                          <a:pos x="4" y="17"/>
                        </a:cxn>
                        <a:cxn ang="0">
                          <a:pos x="4" y="17"/>
                        </a:cxn>
                        <a:cxn ang="0">
                          <a:pos x="4" y="17"/>
                        </a:cxn>
                        <a:cxn ang="0">
                          <a:pos x="4" y="17"/>
                        </a:cxn>
                        <a:cxn ang="0">
                          <a:pos x="4" y="17"/>
                        </a:cxn>
                        <a:cxn ang="0">
                          <a:pos x="4" y="17"/>
                        </a:cxn>
                      </a:cxnLst>
                      <a:rect l="0" t="0" r="r" b="b"/>
                      <a:pathLst>
                        <a:path w="28" h="17">
                          <a:moveTo>
                            <a:pt x="4" y="17"/>
                          </a:moveTo>
                          <a:lnTo>
                            <a:pt x="2" y="14"/>
                          </a:lnTo>
                          <a:lnTo>
                            <a:pt x="2" y="14"/>
                          </a:lnTo>
                          <a:lnTo>
                            <a:pt x="0" y="10"/>
                          </a:lnTo>
                          <a:lnTo>
                            <a:pt x="0" y="10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4" y="3"/>
                          </a:lnTo>
                          <a:lnTo>
                            <a:pt x="4" y="3"/>
                          </a:lnTo>
                          <a:lnTo>
                            <a:pt x="7" y="3"/>
                          </a:lnTo>
                          <a:lnTo>
                            <a:pt x="7" y="3"/>
                          </a:lnTo>
                          <a:lnTo>
                            <a:pt x="19" y="5"/>
                          </a:lnTo>
                          <a:lnTo>
                            <a:pt x="19" y="5"/>
                          </a:lnTo>
                          <a:lnTo>
                            <a:pt x="19" y="5"/>
                          </a:lnTo>
                          <a:lnTo>
                            <a:pt x="19" y="5"/>
                          </a:lnTo>
                          <a:lnTo>
                            <a:pt x="21" y="3"/>
                          </a:lnTo>
                          <a:lnTo>
                            <a:pt x="21" y="3"/>
                          </a:lnTo>
                          <a:lnTo>
                            <a:pt x="21" y="3"/>
                          </a:lnTo>
                          <a:lnTo>
                            <a:pt x="21" y="3"/>
                          </a:lnTo>
                          <a:lnTo>
                            <a:pt x="26" y="3"/>
                          </a:lnTo>
                          <a:lnTo>
                            <a:pt x="26" y="3"/>
                          </a:lnTo>
                          <a:lnTo>
                            <a:pt x="28" y="7"/>
                          </a:lnTo>
                          <a:lnTo>
                            <a:pt x="28" y="7"/>
                          </a:lnTo>
                          <a:lnTo>
                            <a:pt x="28" y="12"/>
                          </a:lnTo>
                          <a:lnTo>
                            <a:pt x="28" y="12"/>
                          </a:lnTo>
                          <a:lnTo>
                            <a:pt x="23" y="17"/>
                          </a:lnTo>
                          <a:lnTo>
                            <a:pt x="23" y="17"/>
                          </a:lnTo>
                          <a:lnTo>
                            <a:pt x="19" y="14"/>
                          </a:lnTo>
                          <a:lnTo>
                            <a:pt x="19" y="14"/>
                          </a:lnTo>
                          <a:lnTo>
                            <a:pt x="11" y="12"/>
                          </a:lnTo>
                          <a:lnTo>
                            <a:pt x="11" y="12"/>
                          </a:lnTo>
                          <a:lnTo>
                            <a:pt x="9" y="14"/>
                          </a:lnTo>
                          <a:lnTo>
                            <a:pt x="9" y="14"/>
                          </a:lnTo>
                          <a:lnTo>
                            <a:pt x="4" y="17"/>
                          </a:lnTo>
                          <a:lnTo>
                            <a:pt x="4" y="17"/>
                          </a:lnTo>
                          <a:lnTo>
                            <a:pt x="4" y="17"/>
                          </a:lnTo>
                          <a:lnTo>
                            <a:pt x="4" y="17"/>
                          </a:lnTo>
                          <a:lnTo>
                            <a:pt x="4" y="17"/>
                          </a:lnTo>
                          <a:lnTo>
                            <a:pt x="4" y="17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20" name="Freeform 1145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3107" y="1536"/>
                      <a:ext cx="24" cy="24"/>
                    </a:xfrm>
                    <a:custGeom>
                      <a:avLst/>
                      <a:gdLst/>
                      <a:ahLst/>
                      <a:cxnLst>
                        <a:cxn ang="0">
                          <a:pos x="19" y="21"/>
                        </a:cxn>
                        <a:cxn ang="0">
                          <a:pos x="17" y="21"/>
                        </a:cxn>
                        <a:cxn ang="0">
                          <a:pos x="17" y="21"/>
                        </a:cxn>
                        <a:cxn ang="0">
                          <a:pos x="19" y="19"/>
                        </a:cxn>
                        <a:cxn ang="0">
                          <a:pos x="19" y="19"/>
                        </a:cxn>
                        <a:cxn ang="0">
                          <a:pos x="19" y="19"/>
                        </a:cxn>
                        <a:cxn ang="0">
                          <a:pos x="19" y="19"/>
                        </a:cxn>
                        <a:cxn ang="0">
                          <a:pos x="17" y="16"/>
                        </a:cxn>
                        <a:cxn ang="0">
                          <a:pos x="17" y="16"/>
                        </a:cxn>
                        <a:cxn ang="0">
                          <a:pos x="17" y="16"/>
                        </a:cxn>
                        <a:cxn ang="0">
                          <a:pos x="17" y="16"/>
                        </a:cxn>
                        <a:cxn ang="0">
                          <a:pos x="14" y="14"/>
                        </a:cxn>
                        <a:cxn ang="0">
                          <a:pos x="14" y="14"/>
                        </a:cxn>
                        <a:cxn ang="0">
                          <a:pos x="14" y="11"/>
                        </a:cxn>
                        <a:cxn ang="0">
                          <a:pos x="14" y="11"/>
                        </a:cxn>
                        <a:cxn ang="0">
                          <a:pos x="10" y="11"/>
                        </a:cxn>
                        <a:cxn ang="0">
                          <a:pos x="10" y="11"/>
                        </a:cxn>
                        <a:cxn ang="0">
                          <a:pos x="7" y="9"/>
                        </a:cxn>
                        <a:cxn ang="0">
                          <a:pos x="7" y="9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0" y="4"/>
                        </a:cxn>
                        <a:cxn ang="0">
                          <a:pos x="0" y="4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7" y="4"/>
                        </a:cxn>
                        <a:cxn ang="0">
                          <a:pos x="7" y="4"/>
                        </a:cxn>
                        <a:cxn ang="0">
                          <a:pos x="10" y="7"/>
                        </a:cxn>
                        <a:cxn ang="0">
                          <a:pos x="10" y="7"/>
                        </a:cxn>
                        <a:cxn ang="0">
                          <a:pos x="17" y="9"/>
                        </a:cxn>
                        <a:cxn ang="0">
                          <a:pos x="17" y="9"/>
                        </a:cxn>
                        <a:cxn ang="0">
                          <a:pos x="19" y="7"/>
                        </a:cxn>
                        <a:cxn ang="0">
                          <a:pos x="19" y="7"/>
                        </a:cxn>
                        <a:cxn ang="0">
                          <a:pos x="19" y="7"/>
                        </a:cxn>
                        <a:cxn ang="0">
                          <a:pos x="19" y="7"/>
                        </a:cxn>
                        <a:cxn ang="0">
                          <a:pos x="21" y="11"/>
                        </a:cxn>
                        <a:cxn ang="0">
                          <a:pos x="21" y="11"/>
                        </a:cxn>
                        <a:cxn ang="0">
                          <a:pos x="21" y="19"/>
                        </a:cxn>
                        <a:cxn ang="0">
                          <a:pos x="21" y="19"/>
                        </a:cxn>
                        <a:cxn ang="0">
                          <a:pos x="19" y="21"/>
                        </a:cxn>
                        <a:cxn ang="0">
                          <a:pos x="19" y="21"/>
                        </a:cxn>
                        <a:cxn ang="0">
                          <a:pos x="19" y="21"/>
                        </a:cxn>
                        <a:cxn ang="0">
                          <a:pos x="19" y="21"/>
                        </a:cxn>
                        <a:cxn ang="0">
                          <a:pos x="19" y="21"/>
                        </a:cxn>
                        <a:cxn ang="0">
                          <a:pos x="19" y="21"/>
                        </a:cxn>
                        <a:cxn ang="0">
                          <a:pos x="19" y="21"/>
                        </a:cxn>
                        <a:cxn ang="0">
                          <a:pos x="19" y="21"/>
                        </a:cxn>
                      </a:cxnLst>
                      <a:rect l="0" t="0" r="r" b="b"/>
                      <a:pathLst>
                        <a:path w="21" h="21">
                          <a:moveTo>
                            <a:pt x="19" y="21"/>
                          </a:moveTo>
                          <a:lnTo>
                            <a:pt x="17" y="21"/>
                          </a:lnTo>
                          <a:lnTo>
                            <a:pt x="17" y="21"/>
                          </a:lnTo>
                          <a:lnTo>
                            <a:pt x="19" y="19"/>
                          </a:lnTo>
                          <a:lnTo>
                            <a:pt x="19" y="19"/>
                          </a:lnTo>
                          <a:lnTo>
                            <a:pt x="19" y="19"/>
                          </a:lnTo>
                          <a:lnTo>
                            <a:pt x="19" y="19"/>
                          </a:lnTo>
                          <a:lnTo>
                            <a:pt x="17" y="16"/>
                          </a:lnTo>
                          <a:lnTo>
                            <a:pt x="17" y="16"/>
                          </a:lnTo>
                          <a:lnTo>
                            <a:pt x="17" y="16"/>
                          </a:lnTo>
                          <a:lnTo>
                            <a:pt x="17" y="16"/>
                          </a:lnTo>
                          <a:lnTo>
                            <a:pt x="14" y="14"/>
                          </a:lnTo>
                          <a:lnTo>
                            <a:pt x="14" y="14"/>
                          </a:lnTo>
                          <a:lnTo>
                            <a:pt x="14" y="11"/>
                          </a:lnTo>
                          <a:lnTo>
                            <a:pt x="14" y="11"/>
                          </a:lnTo>
                          <a:lnTo>
                            <a:pt x="10" y="11"/>
                          </a:lnTo>
                          <a:lnTo>
                            <a:pt x="10" y="11"/>
                          </a:lnTo>
                          <a:lnTo>
                            <a:pt x="7" y="9"/>
                          </a:lnTo>
                          <a:lnTo>
                            <a:pt x="7" y="9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0" y="4"/>
                          </a:lnTo>
                          <a:lnTo>
                            <a:pt x="0" y="4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7" y="4"/>
                          </a:lnTo>
                          <a:lnTo>
                            <a:pt x="7" y="4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17" y="9"/>
                          </a:lnTo>
                          <a:lnTo>
                            <a:pt x="17" y="9"/>
                          </a:lnTo>
                          <a:lnTo>
                            <a:pt x="19" y="7"/>
                          </a:lnTo>
                          <a:lnTo>
                            <a:pt x="19" y="7"/>
                          </a:lnTo>
                          <a:lnTo>
                            <a:pt x="19" y="7"/>
                          </a:lnTo>
                          <a:lnTo>
                            <a:pt x="19" y="7"/>
                          </a:lnTo>
                          <a:lnTo>
                            <a:pt x="21" y="11"/>
                          </a:lnTo>
                          <a:lnTo>
                            <a:pt x="21" y="11"/>
                          </a:lnTo>
                          <a:lnTo>
                            <a:pt x="21" y="19"/>
                          </a:lnTo>
                          <a:lnTo>
                            <a:pt x="21" y="19"/>
                          </a:lnTo>
                          <a:lnTo>
                            <a:pt x="19" y="21"/>
                          </a:lnTo>
                          <a:lnTo>
                            <a:pt x="19" y="21"/>
                          </a:lnTo>
                          <a:lnTo>
                            <a:pt x="19" y="21"/>
                          </a:lnTo>
                          <a:lnTo>
                            <a:pt x="19" y="21"/>
                          </a:lnTo>
                          <a:lnTo>
                            <a:pt x="19" y="21"/>
                          </a:lnTo>
                          <a:lnTo>
                            <a:pt x="19" y="21"/>
                          </a:lnTo>
                          <a:lnTo>
                            <a:pt x="19" y="21"/>
                          </a:lnTo>
                          <a:lnTo>
                            <a:pt x="19" y="21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21" name="Freeform 1146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963" y="1547"/>
                      <a:ext cx="10" cy="21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9"/>
                        </a:cxn>
                        <a:cxn ang="0">
                          <a:pos x="0" y="17"/>
                        </a:cxn>
                        <a:cxn ang="0">
                          <a:pos x="0" y="17"/>
                        </a:cxn>
                        <a:cxn ang="0">
                          <a:pos x="2" y="14"/>
                        </a:cxn>
                        <a:cxn ang="0">
                          <a:pos x="2" y="14"/>
                        </a:cxn>
                        <a:cxn ang="0">
                          <a:pos x="2" y="12"/>
                        </a:cxn>
                        <a:cxn ang="0">
                          <a:pos x="2" y="12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4" y="2"/>
                        </a:cxn>
                        <a:cxn ang="0">
                          <a:pos x="4" y="2"/>
                        </a:cxn>
                        <a:cxn ang="0">
                          <a:pos x="4" y="2"/>
                        </a:cxn>
                        <a:cxn ang="0">
                          <a:pos x="4" y="2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9" y="0"/>
                        </a:cxn>
                        <a:cxn ang="0">
                          <a:pos x="9" y="0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12"/>
                        </a:cxn>
                        <a:cxn ang="0">
                          <a:pos x="7" y="12"/>
                        </a:cxn>
                        <a:cxn ang="0">
                          <a:pos x="7" y="14"/>
                        </a:cxn>
                        <a:cxn ang="0">
                          <a:pos x="7" y="14"/>
                        </a:cxn>
                        <a:cxn ang="0">
                          <a:pos x="2" y="17"/>
                        </a:cxn>
                        <a:cxn ang="0">
                          <a:pos x="2" y="17"/>
                        </a:cxn>
                        <a:cxn ang="0">
                          <a:pos x="2" y="19"/>
                        </a:cxn>
                        <a:cxn ang="0">
                          <a:pos x="2" y="19"/>
                        </a:cxn>
                        <a:cxn ang="0">
                          <a:pos x="0" y="19"/>
                        </a:cxn>
                        <a:cxn ang="0">
                          <a:pos x="0" y="19"/>
                        </a:cxn>
                        <a:cxn ang="0">
                          <a:pos x="0" y="19"/>
                        </a:cxn>
                        <a:cxn ang="0">
                          <a:pos x="0" y="19"/>
                        </a:cxn>
                      </a:cxnLst>
                      <a:rect l="0" t="0" r="r" b="b"/>
                      <a:pathLst>
                        <a:path w="9" h="19">
                          <a:moveTo>
                            <a:pt x="0" y="19"/>
                          </a:moveTo>
                          <a:lnTo>
                            <a:pt x="0" y="17"/>
                          </a:lnTo>
                          <a:lnTo>
                            <a:pt x="0" y="17"/>
                          </a:lnTo>
                          <a:lnTo>
                            <a:pt x="2" y="14"/>
                          </a:lnTo>
                          <a:lnTo>
                            <a:pt x="2" y="14"/>
                          </a:lnTo>
                          <a:lnTo>
                            <a:pt x="2" y="12"/>
                          </a:lnTo>
                          <a:lnTo>
                            <a:pt x="2" y="12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4" y="2"/>
                          </a:lnTo>
                          <a:lnTo>
                            <a:pt x="4" y="2"/>
                          </a:lnTo>
                          <a:lnTo>
                            <a:pt x="4" y="2"/>
                          </a:lnTo>
                          <a:lnTo>
                            <a:pt x="4" y="2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9" y="0"/>
                          </a:lnTo>
                          <a:lnTo>
                            <a:pt x="9" y="0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7" y="14"/>
                          </a:lnTo>
                          <a:lnTo>
                            <a:pt x="7" y="14"/>
                          </a:lnTo>
                          <a:lnTo>
                            <a:pt x="2" y="17"/>
                          </a:lnTo>
                          <a:lnTo>
                            <a:pt x="2" y="17"/>
                          </a:lnTo>
                          <a:lnTo>
                            <a:pt x="2" y="19"/>
                          </a:lnTo>
                          <a:lnTo>
                            <a:pt x="2" y="19"/>
                          </a:lnTo>
                          <a:lnTo>
                            <a:pt x="0" y="19"/>
                          </a:lnTo>
                          <a:lnTo>
                            <a:pt x="0" y="19"/>
                          </a:lnTo>
                          <a:lnTo>
                            <a:pt x="0" y="19"/>
                          </a:lnTo>
                          <a:lnTo>
                            <a:pt x="0" y="19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22" name="Freeform 1147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3118" y="1579"/>
                      <a:ext cx="8" cy="17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5"/>
                        </a:cxn>
                        <a:cxn ang="0">
                          <a:pos x="0" y="15"/>
                        </a:cxn>
                        <a:cxn ang="0">
                          <a:pos x="0" y="15"/>
                        </a:cxn>
                        <a:cxn ang="0">
                          <a:pos x="0" y="10"/>
                        </a:cxn>
                        <a:cxn ang="0">
                          <a:pos x="0" y="10"/>
                        </a:cxn>
                        <a:cxn ang="0">
                          <a:pos x="0" y="10"/>
                        </a:cxn>
                        <a:cxn ang="0">
                          <a:pos x="0" y="10"/>
                        </a:cxn>
                        <a:cxn ang="0">
                          <a:pos x="0" y="8"/>
                        </a:cxn>
                        <a:cxn ang="0">
                          <a:pos x="0" y="8"/>
                        </a:cxn>
                        <a:cxn ang="0">
                          <a:pos x="0" y="8"/>
                        </a:cxn>
                        <a:cxn ang="0">
                          <a:pos x="0" y="8"/>
                        </a:cxn>
                        <a:cxn ang="0">
                          <a:pos x="2" y="8"/>
                        </a:cxn>
                        <a:cxn ang="0">
                          <a:pos x="2" y="8"/>
                        </a:cxn>
                        <a:cxn ang="0">
                          <a:pos x="4" y="8"/>
                        </a:cxn>
                        <a:cxn ang="0">
                          <a:pos x="4" y="8"/>
                        </a:cxn>
                        <a:cxn ang="0">
                          <a:pos x="4" y="8"/>
                        </a:cxn>
                        <a:cxn ang="0">
                          <a:pos x="4" y="8"/>
                        </a:cxn>
                        <a:cxn ang="0">
                          <a:pos x="4" y="8"/>
                        </a:cxn>
                        <a:cxn ang="0">
                          <a:pos x="4" y="8"/>
                        </a:cxn>
                        <a:cxn ang="0">
                          <a:pos x="4" y="5"/>
                        </a:cxn>
                        <a:cxn ang="0">
                          <a:pos x="4" y="5"/>
                        </a:cxn>
                        <a:cxn ang="0">
                          <a:pos x="4" y="3"/>
                        </a:cxn>
                        <a:cxn ang="0">
                          <a:pos x="4" y="3"/>
                        </a:cxn>
                        <a:cxn ang="0">
                          <a:pos x="4" y="3"/>
                        </a:cxn>
                        <a:cxn ang="0">
                          <a:pos x="4" y="3"/>
                        </a:cxn>
                        <a:cxn ang="0">
                          <a:pos x="4" y="0"/>
                        </a:cxn>
                        <a:cxn ang="0">
                          <a:pos x="4" y="0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7" y="10"/>
                        </a:cxn>
                        <a:cxn ang="0">
                          <a:pos x="7" y="10"/>
                        </a:cxn>
                        <a:cxn ang="0">
                          <a:pos x="7" y="12"/>
                        </a:cxn>
                        <a:cxn ang="0">
                          <a:pos x="7" y="12"/>
                        </a:cxn>
                        <a:cxn ang="0">
                          <a:pos x="4" y="15"/>
                        </a:cxn>
                        <a:cxn ang="0">
                          <a:pos x="4" y="15"/>
                        </a:cxn>
                        <a:cxn ang="0">
                          <a:pos x="4" y="15"/>
                        </a:cxn>
                        <a:cxn ang="0">
                          <a:pos x="4" y="15"/>
                        </a:cxn>
                        <a:cxn ang="0">
                          <a:pos x="2" y="15"/>
                        </a:cxn>
                        <a:cxn ang="0">
                          <a:pos x="2" y="15"/>
                        </a:cxn>
                        <a:cxn ang="0">
                          <a:pos x="0" y="15"/>
                        </a:cxn>
                        <a:cxn ang="0">
                          <a:pos x="0" y="15"/>
                        </a:cxn>
                        <a:cxn ang="0">
                          <a:pos x="0" y="15"/>
                        </a:cxn>
                        <a:cxn ang="0">
                          <a:pos x="0" y="15"/>
                        </a:cxn>
                      </a:cxnLst>
                      <a:rect l="0" t="0" r="r" b="b"/>
                      <a:pathLst>
                        <a:path w="7" h="15">
                          <a:moveTo>
                            <a:pt x="0" y="15"/>
                          </a:moveTo>
                          <a:lnTo>
                            <a:pt x="0" y="15"/>
                          </a:lnTo>
                          <a:lnTo>
                            <a:pt x="0" y="15"/>
                          </a:lnTo>
                          <a:lnTo>
                            <a:pt x="0" y="10"/>
                          </a:lnTo>
                          <a:lnTo>
                            <a:pt x="0" y="10"/>
                          </a:lnTo>
                          <a:lnTo>
                            <a:pt x="0" y="10"/>
                          </a:lnTo>
                          <a:lnTo>
                            <a:pt x="0" y="10"/>
                          </a:lnTo>
                          <a:lnTo>
                            <a:pt x="0" y="8"/>
                          </a:lnTo>
                          <a:lnTo>
                            <a:pt x="0" y="8"/>
                          </a:lnTo>
                          <a:lnTo>
                            <a:pt x="0" y="8"/>
                          </a:lnTo>
                          <a:lnTo>
                            <a:pt x="0" y="8"/>
                          </a:lnTo>
                          <a:lnTo>
                            <a:pt x="2" y="8"/>
                          </a:lnTo>
                          <a:lnTo>
                            <a:pt x="2" y="8"/>
                          </a:lnTo>
                          <a:lnTo>
                            <a:pt x="4" y="8"/>
                          </a:lnTo>
                          <a:lnTo>
                            <a:pt x="4" y="8"/>
                          </a:lnTo>
                          <a:lnTo>
                            <a:pt x="4" y="8"/>
                          </a:lnTo>
                          <a:lnTo>
                            <a:pt x="4" y="8"/>
                          </a:lnTo>
                          <a:lnTo>
                            <a:pt x="4" y="8"/>
                          </a:lnTo>
                          <a:lnTo>
                            <a:pt x="4" y="8"/>
                          </a:lnTo>
                          <a:lnTo>
                            <a:pt x="4" y="5"/>
                          </a:lnTo>
                          <a:lnTo>
                            <a:pt x="4" y="5"/>
                          </a:lnTo>
                          <a:lnTo>
                            <a:pt x="4" y="3"/>
                          </a:lnTo>
                          <a:lnTo>
                            <a:pt x="4" y="3"/>
                          </a:lnTo>
                          <a:lnTo>
                            <a:pt x="4" y="3"/>
                          </a:lnTo>
                          <a:lnTo>
                            <a:pt x="4" y="3"/>
                          </a:lnTo>
                          <a:lnTo>
                            <a:pt x="4" y="0"/>
                          </a:lnTo>
                          <a:lnTo>
                            <a:pt x="4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7" y="10"/>
                          </a:lnTo>
                          <a:lnTo>
                            <a:pt x="7" y="10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4" y="15"/>
                          </a:lnTo>
                          <a:lnTo>
                            <a:pt x="4" y="15"/>
                          </a:lnTo>
                          <a:lnTo>
                            <a:pt x="4" y="15"/>
                          </a:lnTo>
                          <a:lnTo>
                            <a:pt x="4" y="15"/>
                          </a:lnTo>
                          <a:lnTo>
                            <a:pt x="2" y="15"/>
                          </a:lnTo>
                          <a:lnTo>
                            <a:pt x="2" y="15"/>
                          </a:lnTo>
                          <a:lnTo>
                            <a:pt x="0" y="15"/>
                          </a:lnTo>
                          <a:lnTo>
                            <a:pt x="0" y="15"/>
                          </a:lnTo>
                          <a:lnTo>
                            <a:pt x="0" y="15"/>
                          </a:lnTo>
                          <a:lnTo>
                            <a:pt x="0" y="15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23" name="Freeform 1148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866" y="1582"/>
                      <a:ext cx="26" cy="24"/>
                    </a:xfrm>
                    <a:custGeom>
                      <a:avLst/>
                      <a:gdLst/>
                      <a:ahLst/>
                      <a:cxnLst>
                        <a:cxn ang="0">
                          <a:pos x="4" y="19"/>
                        </a:cxn>
                        <a:cxn ang="0">
                          <a:pos x="0" y="9"/>
                        </a:cxn>
                        <a:cxn ang="0">
                          <a:pos x="0" y="9"/>
                        </a:cxn>
                        <a:cxn ang="0">
                          <a:pos x="0" y="9"/>
                        </a:cxn>
                        <a:cxn ang="0">
                          <a:pos x="0" y="9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11" y="0"/>
                        </a:cxn>
                        <a:cxn ang="0">
                          <a:pos x="11" y="0"/>
                        </a:cxn>
                        <a:cxn ang="0">
                          <a:pos x="11" y="0"/>
                        </a:cxn>
                        <a:cxn ang="0">
                          <a:pos x="11" y="0"/>
                        </a:cxn>
                        <a:cxn ang="0">
                          <a:pos x="11" y="0"/>
                        </a:cxn>
                        <a:cxn ang="0">
                          <a:pos x="11" y="0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4" y="2"/>
                        </a:cxn>
                        <a:cxn ang="0">
                          <a:pos x="14" y="2"/>
                        </a:cxn>
                        <a:cxn ang="0">
                          <a:pos x="18" y="7"/>
                        </a:cxn>
                        <a:cxn ang="0">
                          <a:pos x="18" y="7"/>
                        </a:cxn>
                        <a:cxn ang="0">
                          <a:pos x="18" y="7"/>
                        </a:cxn>
                        <a:cxn ang="0">
                          <a:pos x="18" y="7"/>
                        </a:cxn>
                        <a:cxn ang="0">
                          <a:pos x="21" y="7"/>
                        </a:cxn>
                        <a:cxn ang="0">
                          <a:pos x="21" y="7"/>
                        </a:cxn>
                        <a:cxn ang="0">
                          <a:pos x="23" y="9"/>
                        </a:cxn>
                        <a:cxn ang="0">
                          <a:pos x="23" y="9"/>
                        </a:cxn>
                        <a:cxn ang="0">
                          <a:pos x="23" y="12"/>
                        </a:cxn>
                        <a:cxn ang="0">
                          <a:pos x="23" y="12"/>
                        </a:cxn>
                        <a:cxn ang="0">
                          <a:pos x="21" y="14"/>
                        </a:cxn>
                        <a:cxn ang="0">
                          <a:pos x="21" y="14"/>
                        </a:cxn>
                        <a:cxn ang="0">
                          <a:pos x="21" y="14"/>
                        </a:cxn>
                        <a:cxn ang="0">
                          <a:pos x="21" y="14"/>
                        </a:cxn>
                        <a:cxn ang="0">
                          <a:pos x="9" y="19"/>
                        </a:cxn>
                        <a:cxn ang="0">
                          <a:pos x="9" y="19"/>
                        </a:cxn>
                        <a:cxn ang="0">
                          <a:pos x="7" y="21"/>
                        </a:cxn>
                        <a:cxn ang="0">
                          <a:pos x="7" y="21"/>
                        </a:cxn>
                        <a:cxn ang="0">
                          <a:pos x="4" y="19"/>
                        </a:cxn>
                        <a:cxn ang="0">
                          <a:pos x="4" y="19"/>
                        </a:cxn>
                        <a:cxn ang="0">
                          <a:pos x="4" y="19"/>
                        </a:cxn>
                        <a:cxn ang="0">
                          <a:pos x="4" y="19"/>
                        </a:cxn>
                      </a:cxnLst>
                      <a:rect l="0" t="0" r="r" b="b"/>
                      <a:pathLst>
                        <a:path w="23" h="21">
                          <a:moveTo>
                            <a:pt x="4" y="19"/>
                          </a:moveTo>
                          <a:lnTo>
                            <a:pt x="0" y="9"/>
                          </a:lnTo>
                          <a:lnTo>
                            <a:pt x="0" y="9"/>
                          </a:lnTo>
                          <a:lnTo>
                            <a:pt x="0" y="9"/>
                          </a:lnTo>
                          <a:lnTo>
                            <a:pt x="0" y="9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11" y="0"/>
                          </a:lnTo>
                          <a:lnTo>
                            <a:pt x="11" y="0"/>
                          </a:lnTo>
                          <a:lnTo>
                            <a:pt x="11" y="0"/>
                          </a:lnTo>
                          <a:lnTo>
                            <a:pt x="11" y="0"/>
                          </a:lnTo>
                          <a:lnTo>
                            <a:pt x="11" y="0"/>
                          </a:lnTo>
                          <a:lnTo>
                            <a:pt x="11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2"/>
                          </a:lnTo>
                          <a:lnTo>
                            <a:pt x="14" y="2"/>
                          </a:lnTo>
                          <a:lnTo>
                            <a:pt x="18" y="7"/>
                          </a:lnTo>
                          <a:lnTo>
                            <a:pt x="18" y="7"/>
                          </a:lnTo>
                          <a:lnTo>
                            <a:pt x="18" y="7"/>
                          </a:lnTo>
                          <a:lnTo>
                            <a:pt x="18" y="7"/>
                          </a:lnTo>
                          <a:lnTo>
                            <a:pt x="21" y="7"/>
                          </a:lnTo>
                          <a:lnTo>
                            <a:pt x="21" y="7"/>
                          </a:lnTo>
                          <a:lnTo>
                            <a:pt x="23" y="9"/>
                          </a:lnTo>
                          <a:lnTo>
                            <a:pt x="23" y="9"/>
                          </a:lnTo>
                          <a:lnTo>
                            <a:pt x="23" y="12"/>
                          </a:lnTo>
                          <a:lnTo>
                            <a:pt x="23" y="12"/>
                          </a:lnTo>
                          <a:lnTo>
                            <a:pt x="21" y="14"/>
                          </a:lnTo>
                          <a:lnTo>
                            <a:pt x="21" y="14"/>
                          </a:lnTo>
                          <a:lnTo>
                            <a:pt x="21" y="14"/>
                          </a:lnTo>
                          <a:lnTo>
                            <a:pt x="21" y="14"/>
                          </a:lnTo>
                          <a:lnTo>
                            <a:pt x="9" y="19"/>
                          </a:lnTo>
                          <a:lnTo>
                            <a:pt x="9" y="19"/>
                          </a:lnTo>
                          <a:lnTo>
                            <a:pt x="7" y="21"/>
                          </a:lnTo>
                          <a:lnTo>
                            <a:pt x="7" y="21"/>
                          </a:lnTo>
                          <a:lnTo>
                            <a:pt x="4" y="19"/>
                          </a:lnTo>
                          <a:lnTo>
                            <a:pt x="4" y="19"/>
                          </a:lnTo>
                          <a:lnTo>
                            <a:pt x="4" y="19"/>
                          </a:lnTo>
                          <a:lnTo>
                            <a:pt x="4" y="19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24" name="Freeform 1149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3182" y="1590"/>
                      <a:ext cx="3" cy="1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6"/>
                        </a:cxn>
                        <a:cxn ang="0">
                          <a:pos x="0" y="16"/>
                        </a:cxn>
                        <a:cxn ang="0">
                          <a:pos x="0" y="16"/>
                        </a:cxn>
                        <a:cxn ang="0">
                          <a:pos x="0" y="12"/>
                        </a:cxn>
                        <a:cxn ang="0">
                          <a:pos x="0" y="1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3" y="0"/>
                        </a:cxn>
                        <a:cxn ang="0">
                          <a:pos x="3" y="0"/>
                        </a:cxn>
                        <a:cxn ang="0">
                          <a:pos x="3" y="0"/>
                        </a:cxn>
                        <a:cxn ang="0">
                          <a:pos x="3" y="0"/>
                        </a:cxn>
                        <a:cxn ang="0">
                          <a:pos x="3" y="0"/>
                        </a:cxn>
                        <a:cxn ang="0">
                          <a:pos x="3" y="0"/>
                        </a:cxn>
                        <a:cxn ang="0">
                          <a:pos x="3" y="2"/>
                        </a:cxn>
                        <a:cxn ang="0">
                          <a:pos x="3" y="2"/>
                        </a:cxn>
                        <a:cxn ang="0">
                          <a:pos x="3" y="5"/>
                        </a:cxn>
                        <a:cxn ang="0">
                          <a:pos x="3" y="5"/>
                        </a:cxn>
                        <a:cxn ang="0">
                          <a:pos x="3" y="9"/>
                        </a:cxn>
                        <a:cxn ang="0">
                          <a:pos x="3" y="9"/>
                        </a:cxn>
                        <a:cxn ang="0">
                          <a:pos x="3" y="14"/>
                        </a:cxn>
                        <a:cxn ang="0">
                          <a:pos x="3" y="14"/>
                        </a:cxn>
                        <a:cxn ang="0">
                          <a:pos x="3" y="16"/>
                        </a:cxn>
                        <a:cxn ang="0">
                          <a:pos x="3" y="16"/>
                        </a:cxn>
                        <a:cxn ang="0">
                          <a:pos x="0" y="16"/>
                        </a:cxn>
                        <a:cxn ang="0">
                          <a:pos x="0" y="16"/>
                        </a:cxn>
                        <a:cxn ang="0">
                          <a:pos x="0" y="16"/>
                        </a:cxn>
                        <a:cxn ang="0">
                          <a:pos x="0" y="16"/>
                        </a:cxn>
                        <a:cxn ang="0">
                          <a:pos x="0" y="16"/>
                        </a:cxn>
                        <a:cxn ang="0">
                          <a:pos x="0" y="16"/>
                        </a:cxn>
                      </a:cxnLst>
                      <a:rect l="0" t="0" r="r" b="b"/>
                      <a:pathLst>
                        <a:path w="3" h="16">
                          <a:moveTo>
                            <a:pt x="0" y="16"/>
                          </a:moveTo>
                          <a:lnTo>
                            <a:pt x="0" y="16"/>
                          </a:lnTo>
                          <a:lnTo>
                            <a:pt x="0" y="16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3" y="0"/>
                          </a:lnTo>
                          <a:lnTo>
                            <a:pt x="3" y="0"/>
                          </a:lnTo>
                          <a:lnTo>
                            <a:pt x="3" y="0"/>
                          </a:lnTo>
                          <a:lnTo>
                            <a:pt x="3" y="0"/>
                          </a:lnTo>
                          <a:lnTo>
                            <a:pt x="3" y="0"/>
                          </a:lnTo>
                          <a:lnTo>
                            <a:pt x="3" y="0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3" y="5"/>
                          </a:lnTo>
                          <a:lnTo>
                            <a:pt x="3" y="5"/>
                          </a:lnTo>
                          <a:lnTo>
                            <a:pt x="3" y="9"/>
                          </a:lnTo>
                          <a:lnTo>
                            <a:pt x="3" y="9"/>
                          </a:lnTo>
                          <a:lnTo>
                            <a:pt x="3" y="14"/>
                          </a:lnTo>
                          <a:lnTo>
                            <a:pt x="3" y="14"/>
                          </a:lnTo>
                          <a:lnTo>
                            <a:pt x="3" y="16"/>
                          </a:lnTo>
                          <a:lnTo>
                            <a:pt x="3" y="16"/>
                          </a:lnTo>
                          <a:lnTo>
                            <a:pt x="0" y="16"/>
                          </a:lnTo>
                          <a:lnTo>
                            <a:pt x="0" y="16"/>
                          </a:lnTo>
                          <a:lnTo>
                            <a:pt x="0" y="16"/>
                          </a:lnTo>
                          <a:lnTo>
                            <a:pt x="0" y="16"/>
                          </a:lnTo>
                          <a:lnTo>
                            <a:pt x="0" y="16"/>
                          </a:lnTo>
                          <a:lnTo>
                            <a:pt x="0" y="16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25" name="Freeform 1150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3172" y="1627"/>
                      <a:ext cx="6" cy="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</a:cxnLst>
                      <a:rect l="0" t="0" r="r" b="b"/>
                      <a:pathLst>
                        <a:path w="5" h="7">
                          <a:moveTo>
                            <a:pt x="0" y="7"/>
                          </a:move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26" name="Freeform 1151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763" y="1627"/>
                      <a:ext cx="115" cy="91"/>
                    </a:xfrm>
                    <a:custGeom>
                      <a:avLst/>
                      <a:gdLst/>
                      <a:ahLst/>
                      <a:cxnLst>
                        <a:cxn ang="0">
                          <a:pos x="2" y="78"/>
                        </a:cxn>
                        <a:cxn ang="0">
                          <a:pos x="2" y="76"/>
                        </a:cxn>
                        <a:cxn ang="0">
                          <a:pos x="0" y="64"/>
                        </a:cxn>
                        <a:cxn ang="0">
                          <a:pos x="2" y="59"/>
                        </a:cxn>
                        <a:cxn ang="0">
                          <a:pos x="4" y="57"/>
                        </a:cxn>
                        <a:cxn ang="0">
                          <a:pos x="7" y="52"/>
                        </a:cxn>
                        <a:cxn ang="0">
                          <a:pos x="7" y="52"/>
                        </a:cxn>
                        <a:cxn ang="0">
                          <a:pos x="7" y="45"/>
                        </a:cxn>
                        <a:cxn ang="0">
                          <a:pos x="14" y="40"/>
                        </a:cxn>
                        <a:cxn ang="0">
                          <a:pos x="19" y="40"/>
                        </a:cxn>
                        <a:cxn ang="0">
                          <a:pos x="21" y="38"/>
                        </a:cxn>
                        <a:cxn ang="0">
                          <a:pos x="23" y="28"/>
                        </a:cxn>
                        <a:cxn ang="0">
                          <a:pos x="28" y="28"/>
                        </a:cxn>
                        <a:cxn ang="0">
                          <a:pos x="33" y="28"/>
                        </a:cxn>
                        <a:cxn ang="0">
                          <a:pos x="40" y="28"/>
                        </a:cxn>
                        <a:cxn ang="0">
                          <a:pos x="42" y="26"/>
                        </a:cxn>
                        <a:cxn ang="0">
                          <a:pos x="42" y="24"/>
                        </a:cxn>
                        <a:cxn ang="0">
                          <a:pos x="45" y="21"/>
                        </a:cxn>
                        <a:cxn ang="0">
                          <a:pos x="45" y="21"/>
                        </a:cxn>
                        <a:cxn ang="0">
                          <a:pos x="47" y="26"/>
                        </a:cxn>
                        <a:cxn ang="0">
                          <a:pos x="49" y="28"/>
                        </a:cxn>
                        <a:cxn ang="0">
                          <a:pos x="52" y="35"/>
                        </a:cxn>
                        <a:cxn ang="0">
                          <a:pos x="56" y="38"/>
                        </a:cxn>
                        <a:cxn ang="0">
                          <a:pos x="64" y="38"/>
                        </a:cxn>
                        <a:cxn ang="0">
                          <a:pos x="73" y="33"/>
                        </a:cxn>
                        <a:cxn ang="0">
                          <a:pos x="80" y="31"/>
                        </a:cxn>
                        <a:cxn ang="0">
                          <a:pos x="80" y="28"/>
                        </a:cxn>
                        <a:cxn ang="0">
                          <a:pos x="82" y="19"/>
                        </a:cxn>
                        <a:cxn ang="0">
                          <a:pos x="85" y="19"/>
                        </a:cxn>
                        <a:cxn ang="0">
                          <a:pos x="87" y="14"/>
                        </a:cxn>
                        <a:cxn ang="0">
                          <a:pos x="90" y="7"/>
                        </a:cxn>
                        <a:cxn ang="0">
                          <a:pos x="90" y="5"/>
                        </a:cxn>
                        <a:cxn ang="0">
                          <a:pos x="92" y="5"/>
                        </a:cxn>
                        <a:cxn ang="0">
                          <a:pos x="97" y="2"/>
                        </a:cxn>
                        <a:cxn ang="0">
                          <a:pos x="99" y="0"/>
                        </a:cxn>
                        <a:cxn ang="0">
                          <a:pos x="99" y="2"/>
                        </a:cxn>
                        <a:cxn ang="0">
                          <a:pos x="99" y="5"/>
                        </a:cxn>
                        <a:cxn ang="0">
                          <a:pos x="99" y="14"/>
                        </a:cxn>
                        <a:cxn ang="0">
                          <a:pos x="99" y="26"/>
                        </a:cxn>
                        <a:cxn ang="0">
                          <a:pos x="94" y="38"/>
                        </a:cxn>
                        <a:cxn ang="0">
                          <a:pos x="92" y="40"/>
                        </a:cxn>
                        <a:cxn ang="0">
                          <a:pos x="87" y="47"/>
                        </a:cxn>
                        <a:cxn ang="0">
                          <a:pos x="85" y="57"/>
                        </a:cxn>
                        <a:cxn ang="0">
                          <a:pos x="80" y="61"/>
                        </a:cxn>
                        <a:cxn ang="0">
                          <a:pos x="80" y="61"/>
                        </a:cxn>
                        <a:cxn ang="0">
                          <a:pos x="78" y="69"/>
                        </a:cxn>
                        <a:cxn ang="0">
                          <a:pos x="78" y="71"/>
                        </a:cxn>
                        <a:cxn ang="0">
                          <a:pos x="54" y="73"/>
                        </a:cxn>
                        <a:cxn ang="0">
                          <a:pos x="54" y="73"/>
                        </a:cxn>
                        <a:cxn ang="0">
                          <a:pos x="42" y="76"/>
                        </a:cxn>
                        <a:cxn ang="0">
                          <a:pos x="35" y="78"/>
                        </a:cxn>
                        <a:cxn ang="0">
                          <a:pos x="26" y="76"/>
                        </a:cxn>
                        <a:cxn ang="0">
                          <a:pos x="26" y="76"/>
                        </a:cxn>
                        <a:cxn ang="0">
                          <a:pos x="14" y="73"/>
                        </a:cxn>
                        <a:cxn ang="0">
                          <a:pos x="12" y="73"/>
                        </a:cxn>
                        <a:cxn ang="0">
                          <a:pos x="9" y="76"/>
                        </a:cxn>
                        <a:cxn ang="0">
                          <a:pos x="7" y="80"/>
                        </a:cxn>
                        <a:cxn ang="0">
                          <a:pos x="4" y="80"/>
                        </a:cxn>
                      </a:cxnLst>
                      <a:rect l="0" t="0" r="r" b="b"/>
                      <a:pathLst>
                        <a:path w="101" h="80">
                          <a:moveTo>
                            <a:pt x="4" y="80"/>
                          </a:moveTo>
                          <a:lnTo>
                            <a:pt x="2" y="78"/>
                          </a:lnTo>
                          <a:lnTo>
                            <a:pt x="2" y="78"/>
                          </a:lnTo>
                          <a:lnTo>
                            <a:pt x="2" y="78"/>
                          </a:lnTo>
                          <a:lnTo>
                            <a:pt x="2" y="78"/>
                          </a:lnTo>
                          <a:lnTo>
                            <a:pt x="2" y="76"/>
                          </a:lnTo>
                          <a:lnTo>
                            <a:pt x="2" y="76"/>
                          </a:lnTo>
                          <a:lnTo>
                            <a:pt x="0" y="64"/>
                          </a:lnTo>
                          <a:lnTo>
                            <a:pt x="0" y="64"/>
                          </a:lnTo>
                          <a:lnTo>
                            <a:pt x="2" y="59"/>
                          </a:lnTo>
                          <a:lnTo>
                            <a:pt x="2" y="59"/>
                          </a:lnTo>
                          <a:lnTo>
                            <a:pt x="2" y="59"/>
                          </a:lnTo>
                          <a:lnTo>
                            <a:pt x="2" y="59"/>
                          </a:lnTo>
                          <a:lnTo>
                            <a:pt x="4" y="57"/>
                          </a:lnTo>
                          <a:lnTo>
                            <a:pt x="4" y="57"/>
                          </a:lnTo>
                          <a:lnTo>
                            <a:pt x="7" y="54"/>
                          </a:lnTo>
                          <a:lnTo>
                            <a:pt x="7" y="54"/>
                          </a:lnTo>
                          <a:lnTo>
                            <a:pt x="7" y="52"/>
                          </a:lnTo>
                          <a:lnTo>
                            <a:pt x="7" y="52"/>
                          </a:lnTo>
                          <a:lnTo>
                            <a:pt x="7" y="52"/>
                          </a:lnTo>
                          <a:lnTo>
                            <a:pt x="7" y="52"/>
                          </a:lnTo>
                          <a:lnTo>
                            <a:pt x="7" y="47"/>
                          </a:lnTo>
                          <a:lnTo>
                            <a:pt x="7" y="47"/>
                          </a:lnTo>
                          <a:lnTo>
                            <a:pt x="7" y="45"/>
                          </a:lnTo>
                          <a:lnTo>
                            <a:pt x="7" y="45"/>
                          </a:lnTo>
                          <a:lnTo>
                            <a:pt x="14" y="40"/>
                          </a:lnTo>
                          <a:lnTo>
                            <a:pt x="14" y="40"/>
                          </a:lnTo>
                          <a:lnTo>
                            <a:pt x="16" y="40"/>
                          </a:lnTo>
                          <a:lnTo>
                            <a:pt x="16" y="40"/>
                          </a:lnTo>
                          <a:lnTo>
                            <a:pt x="19" y="40"/>
                          </a:lnTo>
                          <a:lnTo>
                            <a:pt x="19" y="40"/>
                          </a:lnTo>
                          <a:lnTo>
                            <a:pt x="21" y="38"/>
                          </a:lnTo>
                          <a:lnTo>
                            <a:pt x="21" y="38"/>
                          </a:lnTo>
                          <a:lnTo>
                            <a:pt x="23" y="31"/>
                          </a:lnTo>
                          <a:lnTo>
                            <a:pt x="23" y="31"/>
                          </a:lnTo>
                          <a:lnTo>
                            <a:pt x="23" y="28"/>
                          </a:lnTo>
                          <a:lnTo>
                            <a:pt x="23" y="28"/>
                          </a:lnTo>
                          <a:lnTo>
                            <a:pt x="28" y="28"/>
                          </a:lnTo>
                          <a:lnTo>
                            <a:pt x="28" y="28"/>
                          </a:lnTo>
                          <a:lnTo>
                            <a:pt x="28" y="31"/>
                          </a:lnTo>
                          <a:lnTo>
                            <a:pt x="28" y="31"/>
                          </a:lnTo>
                          <a:lnTo>
                            <a:pt x="33" y="28"/>
                          </a:lnTo>
                          <a:lnTo>
                            <a:pt x="33" y="28"/>
                          </a:lnTo>
                          <a:lnTo>
                            <a:pt x="40" y="28"/>
                          </a:lnTo>
                          <a:lnTo>
                            <a:pt x="40" y="28"/>
                          </a:lnTo>
                          <a:lnTo>
                            <a:pt x="40" y="28"/>
                          </a:lnTo>
                          <a:lnTo>
                            <a:pt x="40" y="28"/>
                          </a:lnTo>
                          <a:lnTo>
                            <a:pt x="42" y="26"/>
                          </a:lnTo>
                          <a:lnTo>
                            <a:pt x="42" y="26"/>
                          </a:lnTo>
                          <a:lnTo>
                            <a:pt x="42" y="24"/>
                          </a:lnTo>
                          <a:lnTo>
                            <a:pt x="42" y="24"/>
                          </a:lnTo>
                          <a:lnTo>
                            <a:pt x="45" y="21"/>
                          </a:lnTo>
                          <a:lnTo>
                            <a:pt x="45" y="21"/>
                          </a:lnTo>
                          <a:lnTo>
                            <a:pt x="45" y="21"/>
                          </a:lnTo>
                          <a:lnTo>
                            <a:pt x="45" y="21"/>
                          </a:lnTo>
                          <a:lnTo>
                            <a:pt x="45" y="21"/>
                          </a:lnTo>
                          <a:lnTo>
                            <a:pt x="45" y="21"/>
                          </a:lnTo>
                          <a:lnTo>
                            <a:pt x="45" y="21"/>
                          </a:lnTo>
                          <a:lnTo>
                            <a:pt x="45" y="21"/>
                          </a:lnTo>
                          <a:lnTo>
                            <a:pt x="47" y="26"/>
                          </a:lnTo>
                          <a:lnTo>
                            <a:pt x="47" y="26"/>
                          </a:lnTo>
                          <a:lnTo>
                            <a:pt x="49" y="28"/>
                          </a:lnTo>
                          <a:lnTo>
                            <a:pt x="49" y="28"/>
                          </a:lnTo>
                          <a:lnTo>
                            <a:pt x="52" y="33"/>
                          </a:lnTo>
                          <a:lnTo>
                            <a:pt x="52" y="33"/>
                          </a:lnTo>
                          <a:lnTo>
                            <a:pt x="52" y="35"/>
                          </a:lnTo>
                          <a:lnTo>
                            <a:pt x="52" y="35"/>
                          </a:lnTo>
                          <a:lnTo>
                            <a:pt x="56" y="38"/>
                          </a:lnTo>
                          <a:lnTo>
                            <a:pt x="56" y="38"/>
                          </a:lnTo>
                          <a:lnTo>
                            <a:pt x="61" y="38"/>
                          </a:lnTo>
                          <a:lnTo>
                            <a:pt x="61" y="38"/>
                          </a:lnTo>
                          <a:lnTo>
                            <a:pt x="64" y="38"/>
                          </a:lnTo>
                          <a:lnTo>
                            <a:pt x="64" y="38"/>
                          </a:lnTo>
                          <a:lnTo>
                            <a:pt x="73" y="33"/>
                          </a:lnTo>
                          <a:lnTo>
                            <a:pt x="73" y="33"/>
                          </a:lnTo>
                          <a:lnTo>
                            <a:pt x="78" y="31"/>
                          </a:lnTo>
                          <a:lnTo>
                            <a:pt x="78" y="31"/>
                          </a:lnTo>
                          <a:lnTo>
                            <a:pt x="80" y="31"/>
                          </a:lnTo>
                          <a:lnTo>
                            <a:pt x="80" y="31"/>
                          </a:lnTo>
                          <a:lnTo>
                            <a:pt x="80" y="28"/>
                          </a:lnTo>
                          <a:lnTo>
                            <a:pt x="80" y="28"/>
                          </a:lnTo>
                          <a:lnTo>
                            <a:pt x="82" y="21"/>
                          </a:lnTo>
                          <a:lnTo>
                            <a:pt x="82" y="21"/>
                          </a:lnTo>
                          <a:lnTo>
                            <a:pt x="82" y="19"/>
                          </a:lnTo>
                          <a:lnTo>
                            <a:pt x="82" y="19"/>
                          </a:lnTo>
                          <a:lnTo>
                            <a:pt x="85" y="19"/>
                          </a:lnTo>
                          <a:lnTo>
                            <a:pt x="85" y="19"/>
                          </a:lnTo>
                          <a:lnTo>
                            <a:pt x="87" y="17"/>
                          </a:lnTo>
                          <a:lnTo>
                            <a:pt x="87" y="17"/>
                          </a:lnTo>
                          <a:lnTo>
                            <a:pt x="87" y="14"/>
                          </a:lnTo>
                          <a:lnTo>
                            <a:pt x="87" y="14"/>
                          </a:lnTo>
                          <a:lnTo>
                            <a:pt x="90" y="7"/>
                          </a:lnTo>
                          <a:lnTo>
                            <a:pt x="90" y="7"/>
                          </a:lnTo>
                          <a:lnTo>
                            <a:pt x="92" y="7"/>
                          </a:lnTo>
                          <a:lnTo>
                            <a:pt x="92" y="7"/>
                          </a:lnTo>
                          <a:lnTo>
                            <a:pt x="90" y="5"/>
                          </a:lnTo>
                          <a:lnTo>
                            <a:pt x="90" y="5"/>
                          </a:lnTo>
                          <a:lnTo>
                            <a:pt x="92" y="5"/>
                          </a:lnTo>
                          <a:lnTo>
                            <a:pt x="92" y="5"/>
                          </a:lnTo>
                          <a:lnTo>
                            <a:pt x="92" y="5"/>
                          </a:lnTo>
                          <a:lnTo>
                            <a:pt x="92" y="5"/>
                          </a:lnTo>
                          <a:lnTo>
                            <a:pt x="97" y="2"/>
                          </a:lnTo>
                          <a:lnTo>
                            <a:pt x="97" y="2"/>
                          </a:lnTo>
                          <a:lnTo>
                            <a:pt x="99" y="0"/>
                          </a:lnTo>
                          <a:lnTo>
                            <a:pt x="99" y="0"/>
                          </a:lnTo>
                          <a:lnTo>
                            <a:pt x="99" y="0"/>
                          </a:lnTo>
                          <a:lnTo>
                            <a:pt x="99" y="0"/>
                          </a:lnTo>
                          <a:lnTo>
                            <a:pt x="99" y="2"/>
                          </a:lnTo>
                          <a:lnTo>
                            <a:pt x="99" y="2"/>
                          </a:lnTo>
                          <a:lnTo>
                            <a:pt x="99" y="5"/>
                          </a:lnTo>
                          <a:lnTo>
                            <a:pt x="99" y="5"/>
                          </a:lnTo>
                          <a:lnTo>
                            <a:pt x="101" y="7"/>
                          </a:lnTo>
                          <a:lnTo>
                            <a:pt x="101" y="7"/>
                          </a:lnTo>
                          <a:lnTo>
                            <a:pt x="99" y="14"/>
                          </a:lnTo>
                          <a:lnTo>
                            <a:pt x="99" y="14"/>
                          </a:lnTo>
                          <a:lnTo>
                            <a:pt x="99" y="26"/>
                          </a:lnTo>
                          <a:lnTo>
                            <a:pt x="99" y="26"/>
                          </a:lnTo>
                          <a:lnTo>
                            <a:pt x="97" y="38"/>
                          </a:lnTo>
                          <a:lnTo>
                            <a:pt x="97" y="38"/>
                          </a:lnTo>
                          <a:lnTo>
                            <a:pt x="94" y="38"/>
                          </a:lnTo>
                          <a:lnTo>
                            <a:pt x="94" y="38"/>
                          </a:lnTo>
                          <a:lnTo>
                            <a:pt x="92" y="40"/>
                          </a:lnTo>
                          <a:lnTo>
                            <a:pt x="92" y="40"/>
                          </a:lnTo>
                          <a:lnTo>
                            <a:pt x="90" y="43"/>
                          </a:lnTo>
                          <a:lnTo>
                            <a:pt x="90" y="43"/>
                          </a:lnTo>
                          <a:lnTo>
                            <a:pt x="87" y="47"/>
                          </a:lnTo>
                          <a:lnTo>
                            <a:pt x="87" y="47"/>
                          </a:lnTo>
                          <a:lnTo>
                            <a:pt x="85" y="57"/>
                          </a:lnTo>
                          <a:lnTo>
                            <a:pt x="85" y="57"/>
                          </a:lnTo>
                          <a:lnTo>
                            <a:pt x="82" y="59"/>
                          </a:lnTo>
                          <a:lnTo>
                            <a:pt x="82" y="59"/>
                          </a:lnTo>
                          <a:lnTo>
                            <a:pt x="80" y="61"/>
                          </a:lnTo>
                          <a:lnTo>
                            <a:pt x="80" y="61"/>
                          </a:lnTo>
                          <a:lnTo>
                            <a:pt x="80" y="61"/>
                          </a:lnTo>
                          <a:lnTo>
                            <a:pt x="80" y="61"/>
                          </a:lnTo>
                          <a:lnTo>
                            <a:pt x="78" y="69"/>
                          </a:lnTo>
                          <a:lnTo>
                            <a:pt x="78" y="69"/>
                          </a:lnTo>
                          <a:lnTo>
                            <a:pt x="78" y="69"/>
                          </a:lnTo>
                          <a:lnTo>
                            <a:pt x="78" y="69"/>
                          </a:lnTo>
                          <a:lnTo>
                            <a:pt x="78" y="71"/>
                          </a:lnTo>
                          <a:lnTo>
                            <a:pt x="78" y="71"/>
                          </a:lnTo>
                          <a:lnTo>
                            <a:pt x="71" y="71"/>
                          </a:lnTo>
                          <a:lnTo>
                            <a:pt x="71" y="71"/>
                          </a:lnTo>
                          <a:lnTo>
                            <a:pt x="54" y="73"/>
                          </a:lnTo>
                          <a:lnTo>
                            <a:pt x="54" y="73"/>
                          </a:lnTo>
                          <a:lnTo>
                            <a:pt x="54" y="73"/>
                          </a:lnTo>
                          <a:lnTo>
                            <a:pt x="54" y="73"/>
                          </a:lnTo>
                          <a:lnTo>
                            <a:pt x="54" y="73"/>
                          </a:lnTo>
                          <a:lnTo>
                            <a:pt x="54" y="73"/>
                          </a:lnTo>
                          <a:lnTo>
                            <a:pt x="42" y="76"/>
                          </a:lnTo>
                          <a:lnTo>
                            <a:pt x="42" y="76"/>
                          </a:lnTo>
                          <a:lnTo>
                            <a:pt x="35" y="78"/>
                          </a:lnTo>
                          <a:lnTo>
                            <a:pt x="35" y="78"/>
                          </a:lnTo>
                          <a:lnTo>
                            <a:pt x="33" y="78"/>
                          </a:lnTo>
                          <a:lnTo>
                            <a:pt x="33" y="78"/>
                          </a:lnTo>
                          <a:lnTo>
                            <a:pt x="26" y="76"/>
                          </a:lnTo>
                          <a:lnTo>
                            <a:pt x="26" y="76"/>
                          </a:lnTo>
                          <a:lnTo>
                            <a:pt x="26" y="76"/>
                          </a:lnTo>
                          <a:lnTo>
                            <a:pt x="26" y="76"/>
                          </a:lnTo>
                          <a:lnTo>
                            <a:pt x="19" y="73"/>
                          </a:lnTo>
                          <a:lnTo>
                            <a:pt x="19" y="73"/>
                          </a:lnTo>
                          <a:lnTo>
                            <a:pt x="14" y="73"/>
                          </a:lnTo>
                          <a:lnTo>
                            <a:pt x="14" y="73"/>
                          </a:lnTo>
                          <a:lnTo>
                            <a:pt x="12" y="73"/>
                          </a:lnTo>
                          <a:lnTo>
                            <a:pt x="12" y="73"/>
                          </a:lnTo>
                          <a:lnTo>
                            <a:pt x="9" y="76"/>
                          </a:lnTo>
                          <a:lnTo>
                            <a:pt x="9" y="76"/>
                          </a:lnTo>
                          <a:lnTo>
                            <a:pt x="9" y="76"/>
                          </a:lnTo>
                          <a:lnTo>
                            <a:pt x="9" y="76"/>
                          </a:lnTo>
                          <a:lnTo>
                            <a:pt x="7" y="80"/>
                          </a:lnTo>
                          <a:lnTo>
                            <a:pt x="7" y="80"/>
                          </a:lnTo>
                          <a:lnTo>
                            <a:pt x="4" y="80"/>
                          </a:lnTo>
                          <a:lnTo>
                            <a:pt x="4" y="80"/>
                          </a:lnTo>
                          <a:lnTo>
                            <a:pt x="4" y="80"/>
                          </a:lnTo>
                          <a:lnTo>
                            <a:pt x="4" y="80"/>
                          </a:lnTo>
                          <a:close/>
                        </a:path>
                      </a:pathLst>
                    </a:custGeom>
                    <a:solidFill>
                      <a:srgbClr val="0070C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527" name="Freeform 1152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3089" y="1635"/>
                      <a:ext cx="10" cy="3"/>
                    </a:xfrm>
                    <a:custGeom>
                      <a:avLst/>
                      <a:gdLst/>
                      <a:ahLst/>
                      <a:cxnLst>
                        <a:cxn ang="0">
                          <a:pos x="2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4" y="0"/>
                        </a:cxn>
                        <a:cxn ang="0">
                          <a:pos x="4" y="0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9" y="0"/>
                        </a:cxn>
                        <a:cxn ang="0">
                          <a:pos x="9" y="0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4" y="2"/>
                        </a:cxn>
                        <a:cxn ang="0">
                          <a:pos x="4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</a:cxnLst>
                      <a:rect l="0" t="0" r="r" b="b"/>
                      <a:pathLst>
                        <a:path w="9" h="2">
                          <a:moveTo>
                            <a:pt x="2" y="2"/>
                          </a:move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4" y="0"/>
                          </a:lnTo>
                          <a:lnTo>
                            <a:pt x="4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9" y="0"/>
                          </a:lnTo>
                          <a:lnTo>
                            <a:pt x="9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4" y="2"/>
                          </a:lnTo>
                          <a:lnTo>
                            <a:pt x="4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grpSp>
                <p:nvGrpSpPr>
                  <p:cNvPr id="392" name="Group 1153"/>
                  <p:cNvGrpSpPr>
                    <a:grpSpLocks/>
                  </p:cNvGrpSpPr>
                  <p:nvPr/>
                </p:nvGrpSpPr>
                <p:grpSpPr bwMode="auto">
                  <a:xfrm>
                    <a:off x="1536700" y="1654175"/>
                    <a:ext cx="549275" cy="177800"/>
                    <a:chOff x="1132" y="1485"/>
                    <a:chExt cx="373" cy="121"/>
                  </a:xfrm>
                  <a:grpFill/>
                  <a:effectLst/>
                </p:grpSpPr>
                <p:sp>
                  <p:nvSpPr>
                    <p:cNvPr id="476" name="Freeform 1154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132" y="1485"/>
                      <a:ext cx="16" cy="8"/>
                    </a:xfrm>
                    <a:custGeom>
                      <a:avLst/>
                      <a:gdLst/>
                      <a:ahLst/>
                      <a:cxnLst>
                        <a:cxn ang="0">
                          <a:pos x="5" y="7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2" y="5"/>
                        </a:cxn>
                        <a:cxn ang="0">
                          <a:pos x="2" y="5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12" y="7"/>
                        </a:cxn>
                        <a:cxn ang="0">
                          <a:pos x="12" y="7"/>
                        </a:cxn>
                        <a:cxn ang="0">
                          <a:pos x="14" y="7"/>
                        </a:cxn>
                        <a:cxn ang="0">
                          <a:pos x="14" y="7"/>
                        </a:cxn>
                        <a:cxn ang="0">
                          <a:pos x="14" y="7"/>
                        </a:cxn>
                        <a:cxn ang="0">
                          <a:pos x="14" y="7"/>
                        </a:cxn>
                        <a:cxn ang="0">
                          <a:pos x="14" y="7"/>
                        </a:cxn>
                        <a:cxn ang="0">
                          <a:pos x="14" y="7"/>
                        </a:cxn>
                        <a:cxn ang="0">
                          <a:pos x="14" y="7"/>
                        </a:cxn>
                        <a:cxn ang="0">
                          <a:pos x="14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</a:cxnLst>
                      <a:rect l="0" t="0" r="r" b="b"/>
                      <a:pathLst>
                        <a:path w="14" h="7">
                          <a:moveTo>
                            <a:pt x="5" y="7"/>
                          </a:move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12" y="7"/>
                          </a:lnTo>
                          <a:lnTo>
                            <a:pt x="12" y="7"/>
                          </a:lnTo>
                          <a:lnTo>
                            <a:pt x="14" y="7"/>
                          </a:lnTo>
                          <a:lnTo>
                            <a:pt x="14" y="7"/>
                          </a:lnTo>
                          <a:lnTo>
                            <a:pt x="14" y="7"/>
                          </a:lnTo>
                          <a:lnTo>
                            <a:pt x="14" y="7"/>
                          </a:lnTo>
                          <a:lnTo>
                            <a:pt x="14" y="7"/>
                          </a:lnTo>
                          <a:lnTo>
                            <a:pt x="14" y="7"/>
                          </a:lnTo>
                          <a:lnTo>
                            <a:pt x="14" y="7"/>
                          </a:lnTo>
                          <a:lnTo>
                            <a:pt x="14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77" name="Freeform 1155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164" y="1493"/>
                      <a:ext cx="19" cy="6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5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3" y="2"/>
                        </a:cxn>
                        <a:cxn ang="0">
                          <a:pos x="3" y="2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12" y="2"/>
                        </a:cxn>
                        <a:cxn ang="0">
                          <a:pos x="12" y="2"/>
                        </a:cxn>
                        <a:cxn ang="0">
                          <a:pos x="14" y="2"/>
                        </a:cxn>
                        <a:cxn ang="0">
                          <a:pos x="14" y="2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7" y="2"/>
                        </a:cxn>
                        <a:cxn ang="0">
                          <a:pos x="17" y="2"/>
                        </a:cxn>
                        <a:cxn ang="0">
                          <a:pos x="14" y="2"/>
                        </a:cxn>
                        <a:cxn ang="0">
                          <a:pos x="14" y="2"/>
                        </a:cxn>
                        <a:cxn ang="0">
                          <a:pos x="14" y="2"/>
                        </a:cxn>
                        <a:cxn ang="0">
                          <a:pos x="14" y="2"/>
                        </a:cxn>
                        <a:cxn ang="0">
                          <a:pos x="14" y="2"/>
                        </a:cxn>
                        <a:cxn ang="0">
                          <a:pos x="14" y="2"/>
                        </a:cxn>
                        <a:cxn ang="0">
                          <a:pos x="10" y="2"/>
                        </a:cxn>
                        <a:cxn ang="0">
                          <a:pos x="10" y="2"/>
                        </a:cxn>
                        <a:cxn ang="0">
                          <a:pos x="10" y="2"/>
                        </a:cxn>
                        <a:cxn ang="0">
                          <a:pos x="10" y="2"/>
                        </a:cxn>
                        <a:cxn ang="0">
                          <a:pos x="10" y="2"/>
                        </a:cxn>
                        <a:cxn ang="0">
                          <a:pos x="10" y="2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3" y="5"/>
                        </a:cxn>
                        <a:cxn ang="0">
                          <a:pos x="3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</a:cxnLst>
                      <a:rect l="0" t="0" r="r" b="b"/>
                      <a:pathLst>
                        <a:path w="17" h="5">
                          <a:moveTo>
                            <a:pt x="0" y="5"/>
                          </a:move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12" y="2"/>
                          </a:lnTo>
                          <a:lnTo>
                            <a:pt x="12" y="2"/>
                          </a:lnTo>
                          <a:lnTo>
                            <a:pt x="14" y="2"/>
                          </a:lnTo>
                          <a:lnTo>
                            <a:pt x="14" y="2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7" y="2"/>
                          </a:lnTo>
                          <a:lnTo>
                            <a:pt x="17" y="2"/>
                          </a:lnTo>
                          <a:lnTo>
                            <a:pt x="14" y="2"/>
                          </a:lnTo>
                          <a:lnTo>
                            <a:pt x="14" y="2"/>
                          </a:lnTo>
                          <a:lnTo>
                            <a:pt x="14" y="2"/>
                          </a:lnTo>
                          <a:lnTo>
                            <a:pt x="14" y="2"/>
                          </a:lnTo>
                          <a:lnTo>
                            <a:pt x="14" y="2"/>
                          </a:lnTo>
                          <a:lnTo>
                            <a:pt x="14" y="2"/>
                          </a:lnTo>
                          <a:lnTo>
                            <a:pt x="10" y="2"/>
                          </a:lnTo>
                          <a:lnTo>
                            <a:pt x="10" y="2"/>
                          </a:lnTo>
                          <a:lnTo>
                            <a:pt x="10" y="2"/>
                          </a:lnTo>
                          <a:lnTo>
                            <a:pt x="10" y="2"/>
                          </a:lnTo>
                          <a:lnTo>
                            <a:pt x="10" y="2"/>
                          </a:lnTo>
                          <a:lnTo>
                            <a:pt x="10" y="2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3" y="5"/>
                          </a:lnTo>
                          <a:lnTo>
                            <a:pt x="3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78" name="Freeform 1156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205" y="1499"/>
                      <a:ext cx="110" cy="107"/>
                    </a:xfrm>
                    <a:custGeom>
                      <a:avLst/>
                      <a:gdLst/>
                      <a:ahLst/>
                      <a:cxnLst>
                        <a:cxn ang="0">
                          <a:pos x="7" y="75"/>
                        </a:cxn>
                        <a:cxn ang="0">
                          <a:pos x="0" y="56"/>
                        </a:cxn>
                        <a:cxn ang="0">
                          <a:pos x="0" y="56"/>
                        </a:cxn>
                        <a:cxn ang="0">
                          <a:pos x="7" y="63"/>
                        </a:cxn>
                        <a:cxn ang="0">
                          <a:pos x="11" y="68"/>
                        </a:cxn>
                        <a:cxn ang="0">
                          <a:pos x="11" y="70"/>
                        </a:cxn>
                        <a:cxn ang="0">
                          <a:pos x="11" y="70"/>
                        </a:cxn>
                        <a:cxn ang="0">
                          <a:pos x="14" y="73"/>
                        </a:cxn>
                        <a:cxn ang="0">
                          <a:pos x="23" y="75"/>
                        </a:cxn>
                        <a:cxn ang="0">
                          <a:pos x="33" y="68"/>
                        </a:cxn>
                        <a:cxn ang="0">
                          <a:pos x="33" y="68"/>
                        </a:cxn>
                        <a:cxn ang="0">
                          <a:pos x="33" y="63"/>
                        </a:cxn>
                        <a:cxn ang="0">
                          <a:pos x="33" y="63"/>
                        </a:cxn>
                        <a:cxn ang="0">
                          <a:pos x="23" y="44"/>
                        </a:cxn>
                        <a:cxn ang="0">
                          <a:pos x="14" y="28"/>
                        </a:cxn>
                        <a:cxn ang="0">
                          <a:pos x="16" y="21"/>
                        </a:cxn>
                        <a:cxn ang="0">
                          <a:pos x="21" y="16"/>
                        </a:cxn>
                        <a:cxn ang="0">
                          <a:pos x="33" y="2"/>
                        </a:cxn>
                        <a:cxn ang="0">
                          <a:pos x="28" y="0"/>
                        </a:cxn>
                        <a:cxn ang="0">
                          <a:pos x="40" y="2"/>
                        </a:cxn>
                        <a:cxn ang="0">
                          <a:pos x="45" y="2"/>
                        </a:cxn>
                        <a:cxn ang="0">
                          <a:pos x="52" y="0"/>
                        </a:cxn>
                        <a:cxn ang="0">
                          <a:pos x="63" y="7"/>
                        </a:cxn>
                        <a:cxn ang="0">
                          <a:pos x="73" y="16"/>
                        </a:cxn>
                        <a:cxn ang="0">
                          <a:pos x="73" y="19"/>
                        </a:cxn>
                        <a:cxn ang="0">
                          <a:pos x="73" y="26"/>
                        </a:cxn>
                        <a:cxn ang="0">
                          <a:pos x="80" y="28"/>
                        </a:cxn>
                        <a:cxn ang="0">
                          <a:pos x="87" y="35"/>
                        </a:cxn>
                        <a:cxn ang="0">
                          <a:pos x="89" y="37"/>
                        </a:cxn>
                        <a:cxn ang="0">
                          <a:pos x="97" y="35"/>
                        </a:cxn>
                        <a:cxn ang="0">
                          <a:pos x="97" y="37"/>
                        </a:cxn>
                        <a:cxn ang="0">
                          <a:pos x="94" y="42"/>
                        </a:cxn>
                        <a:cxn ang="0">
                          <a:pos x="89" y="42"/>
                        </a:cxn>
                        <a:cxn ang="0">
                          <a:pos x="89" y="40"/>
                        </a:cxn>
                        <a:cxn ang="0">
                          <a:pos x="87" y="42"/>
                        </a:cxn>
                        <a:cxn ang="0">
                          <a:pos x="85" y="47"/>
                        </a:cxn>
                        <a:cxn ang="0">
                          <a:pos x="85" y="49"/>
                        </a:cxn>
                        <a:cxn ang="0">
                          <a:pos x="92" y="63"/>
                        </a:cxn>
                        <a:cxn ang="0">
                          <a:pos x="92" y="63"/>
                        </a:cxn>
                        <a:cxn ang="0">
                          <a:pos x="94" y="66"/>
                        </a:cxn>
                        <a:cxn ang="0">
                          <a:pos x="94" y="68"/>
                        </a:cxn>
                        <a:cxn ang="0">
                          <a:pos x="87" y="78"/>
                        </a:cxn>
                        <a:cxn ang="0">
                          <a:pos x="80" y="80"/>
                        </a:cxn>
                        <a:cxn ang="0">
                          <a:pos x="73" y="82"/>
                        </a:cxn>
                        <a:cxn ang="0">
                          <a:pos x="68" y="87"/>
                        </a:cxn>
                        <a:cxn ang="0">
                          <a:pos x="52" y="92"/>
                        </a:cxn>
                        <a:cxn ang="0">
                          <a:pos x="47" y="94"/>
                        </a:cxn>
                        <a:cxn ang="0">
                          <a:pos x="40" y="94"/>
                        </a:cxn>
                        <a:cxn ang="0">
                          <a:pos x="35" y="92"/>
                        </a:cxn>
                        <a:cxn ang="0">
                          <a:pos x="16" y="89"/>
                        </a:cxn>
                        <a:cxn ang="0">
                          <a:pos x="16" y="89"/>
                        </a:cxn>
                      </a:cxnLst>
                      <a:rect l="0" t="0" r="r" b="b"/>
                      <a:pathLst>
                        <a:path w="97" h="94">
                          <a:moveTo>
                            <a:pt x="16" y="89"/>
                          </a:moveTo>
                          <a:lnTo>
                            <a:pt x="7" y="75"/>
                          </a:lnTo>
                          <a:lnTo>
                            <a:pt x="7" y="75"/>
                          </a:lnTo>
                          <a:lnTo>
                            <a:pt x="2" y="68"/>
                          </a:lnTo>
                          <a:lnTo>
                            <a:pt x="2" y="68"/>
                          </a:lnTo>
                          <a:lnTo>
                            <a:pt x="0" y="56"/>
                          </a:lnTo>
                          <a:lnTo>
                            <a:pt x="0" y="56"/>
                          </a:lnTo>
                          <a:lnTo>
                            <a:pt x="0" y="56"/>
                          </a:lnTo>
                          <a:lnTo>
                            <a:pt x="0" y="56"/>
                          </a:lnTo>
                          <a:lnTo>
                            <a:pt x="0" y="56"/>
                          </a:lnTo>
                          <a:lnTo>
                            <a:pt x="0" y="56"/>
                          </a:lnTo>
                          <a:lnTo>
                            <a:pt x="7" y="63"/>
                          </a:lnTo>
                          <a:lnTo>
                            <a:pt x="7" y="63"/>
                          </a:lnTo>
                          <a:lnTo>
                            <a:pt x="11" y="68"/>
                          </a:lnTo>
                          <a:lnTo>
                            <a:pt x="11" y="68"/>
                          </a:lnTo>
                          <a:lnTo>
                            <a:pt x="11" y="68"/>
                          </a:lnTo>
                          <a:lnTo>
                            <a:pt x="11" y="68"/>
                          </a:lnTo>
                          <a:lnTo>
                            <a:pt x="11" y="70"/>
                          </a:lnTo>
                          <a:lnTo>
                            <a:pt x="11" y="70"/>
                          </a:lnTo>
                          <a:lnTo>
                            <a:pt x="11" y="70"/>
                          </a:lnTo>
                          <a:lnTo>
                            <a:pt x="11" y="70"/>
                          </a:lnTo>
                          <a:lnTo>
                            <a:pt x="14" y="73"/>
                          </a:lnTo>
                          <a:lnTo>
                            <a:pt x="14" y="73"/>
                          </a:lnTo>
                          <a:lnTo>
                            <a:pt x="14" y="73"/>
                          </a:lnTo>
                          <a:lnTo>
                            <a:pt x="14" y="73"/>
                          </a:lnTo>
                          <a:lnTo>
                            <a:pt x="23" y="75"/>
                          </a:lnTo>
                          <a:lnTo>
                            <a:pt x="23" y="75"/>
                          </a:lnTo>
                          <a:lnTo>
                            <a:pt x="28" y="73"/>
                          </a:lnTo>
                          <a:lnTo>
                            <a:pt x="28" y="73"/>
                          </a:lnTo>
                          <a:lnTo>
                            <a:pt x="33" y="68"/>
                          </a:lnTo>
                          <a:lnTo>
                            <a:pt x="33" y="68"/>
                          </a:lnTo>
                          <a:lnTo>
                            <a:pt x="33" y="68"/>
                          </a:lnTo>
                          <a:lnTo>
                            <a:pt x="33" y="68"/>
                          </a:lnTo>
                          <a:lnTo>
                            <a:pt x="33" y="66"/>
                          </a:lnTo>
                          <a:lnTo>
                            <a:pt x="33" y="66"/>
                          </a:lnTo>
                          <a:lnTo>
                            <a:pt x="33" y="63"/>
                          </a:lnTo>
                          <a:lnTo>
                            <a:pt x="33" y="63"/>
                          </a:lnTo>
                          <a:lnTo>
                            <a:pt x="33" y="63"/>
                          </a:lnTo>
                          <a:lnTo>
                            <a:pt x="33" y="63"/>
                          </a:lnTo>
                          <a:lnTo>
                            <a:pt x="26" y="49"/>
                          </a:lnTo>
                          <a:lnTo>
                            <a:pt x="26" y="49"/>
                          </a:lnTo>
                          <a:lnTo>
                            <a:pt x="23" y="44"/>
                          </a:lnTo>
                          <a:lnTo>
                            <a:pt x="23" y="44"/>
                          </a:lnTo>
                          <a:lnTo>
                            <a:pt x="14" y="28"/>
                          </a:lnTo>
                          <a:lnTo>
                            <a:pt x="14" y="28"/>
                          </a:lnTo>
                          <a:lnTo>
                            <a:pt x="16" y="23"/>
                          </a:lnTo>
                          <a:lnTo>
                            <a:pt x="16" y="23"/>
                          </a:lnTo>
                          <a:lnTo>
                            <a:pt x="16" y="21"/>
                          </a:lnTo>
                          <a:lnTo>
                            <a:pt x="16" y="21"/>
                          </a:lnTo>
                          <a:lnTo>
                            <a:pt x="21" y="16"/>
                          </a:lnTo>
                          <a:lnTo>
                            <a:pt x="21" y="16"/>
                          </a:lnTo>
                          <a:lnTo>
                            <a:pt x="26" y="9"/>
                          </a:lnTo>
                          <a:lnTo>
                            <a:pt x="26" y="9"/>
                          </a:lnTo>
                          <a:lnTo>
                            <a:pt x="33" y="2"/>
                          </a:lnTo>
                          <a:lnTo>
                            <a:pt x="33" y="2"/>
                          </a:lnTo>
                          <a:lnTo>
                            <a:pt x="28" y="0"/>
                          </a:lnTo>
                          <a:lnTo>
                            <a:pt x="28" y="0"/>
                          </a:lnTo>
                          <a:lnTo>
                            <a:pt x="35" y="0"/>
                          </a:lnTo>
                          <a:lnTo>
                            <a:pt x="35" y="0"/>
                          </a:lnTo>
                          <a:lnTo>
                            <a:pt x="40" y="2"/>
                          </a:lnTo>
                          <a:lnTo>
                            <a:pt x="40" y="2"/>
                          </a:lnTo>
                          <a:lnTo>
                            <a:pt x="45" y="2"/>
                          </a:lnTo>
                          <a:lnTo>
                            <a:pt x="45" y="2"/>
                          </a:lnTo>
                          <a:lnTo>
                            <a:pt x="47" y="0"/>
                          </a:lnTo>
                          <a:lnTo>
                            <a:pt x="47" y="0"/>
                          </a:lnTo>
                          <a:lnTo>
                            <a:pt x="52" y="0"/>
                          </a:lnTo>
                          <a:lnTo>
                            <a:pt x="52" y="0"/>
                          </a:lnTo>
                          <a:lnTo>
                            <a:pt x="63" y="7"/>
                          </a:lnTo>
                          <a:lnTo>
                            <a:pt x="63" y="7"/>
                          </a:lnTo>
                          <a:lnTo>
                            <a:pt x="68" y="9"/>
                          </a:lnTo>
                          <a:lnTo>
                            <a:pt x="68" y="9"/>
                          </a:lnTo>
                          <a:lnTo>
                            <a:pt x="73" y="16"/>
                          </a:lnTo>
                          <a:lnTo>
                            <a:pt x="73" y="16"/>
                          </a:lnTo>
                          <a:lnTo>
                            <a:pt x="73" y="19"/>
                          </a:lnTo>
                          <a:lnTo>
                            <a:pt x="73" y="19"/>
                          </a:lnTo>
                          <a:lnTo>
                            <a:pt x="73" y="21"/>
                          </a:lnTo>
                          <a:lnTo>
                            <a:pt x="73" y="21"/>
                          </a:lnTo>
                          <a:lnTo>
                            <a:pt x="73" y="26"/>
                          </a:lnTo>
                          <a:lnTo>
                            <a:pt x="73" y="26"/>
                          </a:lnTo>
                          <a:lnTo>
                            <a:pt x="80" y="28"/>
                          </a:lnTo>
                          <a:lnTo>
                            <a:pt x="80" y="28"/>
                          </a:lnTo>
                          <a:lnTo>
                            <a:pt x="85" y="30"/>
                          </a:lnTo>
                          <a:lnTo>
                            <a:pt x="85" y="30"/>
                          </a:lnTo>
                          <a:lnTo>
                            <a:pt x="87" y="35"/>
                          </a:lnTo>
                          <a:lnTo>
                            <a:pt x="87" y="35"/>
                          </a:lnTo>
                          <a:lnTo>
                            <a:pt x="89" y="37"/>
                          </a:lnTo>
                          <a:lnTo>
                            <a:pt x="89" y="37"/>
                          </a:lnTo>
                          <a:lnTo>
                            <a:pt x="92" y="35"/>
                          </a:lnTo>
                          <a:lnTo>
                            <a:pt x="92" y="35"/>
                          </a:lnTo>
                          <a:lnTo>
                            <a:pt x="97" y="35"/>
                          </a:lnTo>
                          <a:lnTo>
                            <a:pt x="97" y="35"/>
                          </a:lnTo>
                          <a:lnTo>
                            <a:pt x="97" y="37"/>
                          </a:lnTo>
                          <a:lnTo>
                            <a:pt x="97" y="37"/>
                          </a:lnTo>
                          <a:lnTo>
                            <a:pt x="97" y="40"/>
                          </a:lnTo>
                          <a:lnTo>
                            <a:pt x="97" y="40"/>
                          </a:lnTo>
                          <a:lnTo>
                            <a:pt x="94" y="42"/>
                          </a:lnTo>
                          <a:lnTo>
                            <a:pt x="94" y="42"/>
                          </a:lnTo>
                          <a:lnTo>
                            <a:pt x="89" y="42"/>
                          </a:lnTo>
                          <a:lnTo>
                            <a:pt x="89" y="42"/>
                          </a:lnTo>
                          <a:lnTo>
                            <a:pt x="89" y="40"/>
                          </a:lnTo>
                          <a:lnTo>
                            <a:pt x="89" y="40"/>
                          </a:lnTo>
                          <a:lnTo>
                            <a:pt x="89" y="40"/>
                          </a:lnTo>
                          <a:lnTo>
                            <a:pt x="89" y="40"/>
                          </a:lnTo>
                          <a:lnTo>
                            <a:pt x="87" y="42"/>
                          </a:lnTo>
                          <a:lnTo>
                            <a:pt x="87" y="42"/>
                          </a:lnTo>
                          <a:lnTo>
                            <a:pt x="85" y="44"/>
                          </a:lnTo>
                          <a:lnTo>
                            <a:pt x="85" y="44"/>
                          </a:lnTo>
                          <a:lnTo>
                            <a:pt x="85" y="47"/>
                          </a:lnTo>
                          <a:lnTo>
                            <a:pt x="85" y="47"/>
                          </a:lnTo>
                          <a:lnTo>
                            <a:pt x="85" y="49"/>
                          </a:lnTo>
                          <a:lnTo>
                            <a:pt x="85" y="49"/>
                          </a:lnTo>
                          <a:lnTo>
                            <a:pt x="87" y="52"/>
                          </a:lnTo>
                          <a:lnTo>
                            <a:pt x="87" y="52"/>
                          </a:lnTo>
                          <a:lnTo>
                            <a:pt x="92" y="63"/>
                          </a:lnTo>
                          <a:lnTo>
                            <a:pt x="92" y="63"/>
                          </a:lnTo>
                          <a:lnTo>
                            <a:pt x="92" y="63"/>
                          </a:lnTo>
                          <a:lnTo>
                            <a:pt x="92" y="63"/>
                          </a:lnTo>
                          <a:lnTo>
                            <a:pt x="94" y="63"/>
                          </a:lnTo>
                          <a:lnTo>
                            <a:pt x="94" y="63"/>
                          </a:lnTo>
                          <a:lnTo>
                            <a:pt x="94" y="66"/>
                          </a:lnTo>
                          <a:lnTo>
                            <a:pt x="94" y="66"/>
                          </a:lnTo>
                          <a:lnTo>
                            <a:pt x="94" y="68"/>
                          </a:lnTo>
                          <a:lnTo>
                            <a:pt x="94" y="68"/>
                          </a:lnTo>
                          <a:lnTo>
                            <a:pt x="92" y="70"/>
                          </a:lnTo>
                          <a:lnTo>
                            <a:pt x="92" y="70"/>
                          </a:lnTo>
                          <a:lnTo>
                            <a:pt x="87" y="78"/>
                          </a:lnTo>
                          <a:lnTo>
                            <a:pt x="87" y="78"/>
                          </a:lnTo>
                          <a:lnTo>
                            <a:pt x="80" y="80"/>
                          </a:lnTo>
                          <a:lnTo>
                            <a:pt x="80" y="80"/>
                          </a:lnTo>
                          <a:lnTo>
                            <a:pt x="80" y="80"/>
                          </a:lnTo>
                          <a:lnTo>
                            <a:pt x="80" y="80"/>
                          </a:lnTo>
                          <a:lnTo>
                            <a:pt x="73" y="82"/>
                          </a:lnTo>
                          <a:lnTo>
                            <a:pt x="73" y="82"/>
                          </a:lnTo>
                          <a:lnTo>
                            <a:pt x="68" y="87"/>
                          </a:lnTo>
                          <a:lnTo>
                            <a:pt x="68" y="87"/>
                          </a:lnTo>
                          <a:lnTo>
                            <a:pt x="56" y="92"/>
                          </a:lnTo>
                          <a:lnTo>
                            <a:pt x="56" y="92"/>
                          </a:lnTo>
                          <a:lnTo>
                            <a:pt x="52" y="92"/>
                          </a:lnTo>
                          <a:lnTo>
                            <a:pt x="52" y="92"/>
                          </a:lnTo>
                          <a:lnTo>
                            <a:pt x="47" y="94"/>
                          </a:lnTo>
                          <a:lnTo>
                            <a:pt x="47" y="94"/>
                          </a:lnTo>
                          <a:lnTo>
                            <a:pt x="42" y="94"/>
                          </a:lnTo>
                          <a:lnTo>
                            <a:pt x="42" y="94"/>
                          </a:lnTo>
                          <a:lnTo>
                            <a:pt x="40" y="94"/>
                          </a:lnTo>
                          <a:lnTo>
                            <a:pt x="40" y="94"/>
                          </a:lnTo>
                          <a:lnTo>
                            <a:pt x="35" y="92"/>
                          </a:lnTo>
                          <a:lnTo>
                            <a:pt x="35" y="92"/>
                          </a:lnTo>
                          <a:lnTo>
                            <a:pt x="23" y="89"/>
                          </a:lnTo>
                          <a:lnTo>
                            <a:pt x="23" y="89"/>
                          </a:lnTo>
                          <a:lnTo>
                            <a:pt x="16" y="89"/>
                          </a:lnTo>
                          <a:lnTo>
                            <a:pt x="16" y="89"/>
                          </a:lnTo>
                          <a:lnTo>
                            <a:pt x="16" y="89"/>
                          </a:lnTo>
                          <a:lnTo>
                            <a:pt x="16" y="89"/>
                          </a:lnTo>
                          <a:close/>
                        </a:path>
                      </a:pathLst>
                    </a:custGeom>
                    <a:solidFill>
                      <a:srgbClr val="0070C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79" name="Freeform 1157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471" y="1549"/>
                      <a:ext cx="34" cy="25"/>
                    </a:xfrm>
                    <a:custGeom>
                      <a:avLst/>
                      <a:gdLst/>
                      <a:ahLst/>
                      <a:cxnLst>
                        <a:cxn ang="0">
                          <a:pos x="2" y="22"/>
                        </a:cxn>
                        <a:cxn ang="0">
                          <a:pos x="0" y="15"/>
                        </a:cxn>
                        <a:cxn ang="0">
                          <a:pos x="0" y="15"/>
                        </a:cxn>
                        <a:cxn ang="0">
                          <a:pos x="2" y="15"/>
                        </a:cxn>
                        <a:cxn ang="0">
                          <a:pos x="2" y="15"/>
                        </a:cxn>
                        <a:cxn ang="0">
                          <a:pos x="2" y="15"/>
                        </a:cxn>
                        <a:cxn ang="0">
                          <a:pos x="2" y="15"/>
                        </a:cxn>
                        <a:cxn ang="0">
                          <a:pos x="2" y="12"/>
                        </a:cxn>
                        <a:cxn ang="0">
                          <a:pos x="2" y="12"/>
                        </a:cxn>
                        <a:cxn ang="0">
                          <a:pos x="7" y="15"/>
                        </a:cxn>
                        <a:cxn ang="0">
                          <a:pos x="7" y="15"/>
                        </a:cxn>
                        <a:cxn ang="0">
                          <a:pos x="7" y="15"/>
                        </a:cxn>
                        <a:cxn ang="0">
                          <a:pos x="7" y="15"/>
                        </a:cxn>
                        <a:cxn ang="0">
                          <a:pos x="9" y="15"/>
                        </a:cxn>
                        <a:cxn ang="0">
                          <a:pos x="9" y="15"/>
                        </a:cxn>
                        <a:cxn ang="0">
                          <a:pos x="18" y="10"/>
                        </a:cxn>
                        <a:cxn ang="0">
                          <a:pos x="18" y="10"/>
                        </a:cxn>
                        <a:cxn ang="0">
                          <a:pos x="21" y="8"/>
                        </a:cxn>
                        <a:cxn ang="0">
                          <a:pos x="21" y="8"/>
                        </a:cxn>
                        <a:cxn ang="0">
                          <a:pos x="21" y="5"/>
                        </a:cxn>
                        <a:cxn ang="0">
                          <a:pos x="21" y="5"/>
                        </a:cxn>
                        <a:cxn ang="0">
                          <a:pos x="21" y="5"/>
                        </a:cxn>
                        <a:cxn ang="0">
                          <a:pos x="21" y="5"/>
                        </a:cxn>
                        <a:cxn ang="0">
                          <a:pos x="21" y="5"/>
                        </a:cxn>
                        <a:cxn ang="0">
                          <a:pos x="21" y="5"/>
                        </a:cxn>
                        <a:cxn ang="0">
                          <a:pos x="21" y="3"/>
                        </a:cxn>
                        <a:cxn ang="0">
                          <a:pos x="21" y="3"/>
                        </a:cxn>
                        <a:cxn ang="0">
                          <a:pos x="26" y="0"/>
                        </a:cxn>
                        <a:cxn ang="0">
                          <a:pos x="26" y="0"/>
                        </a:cxn>
                        <a:cxn ang="0">
                          <a:pos x="30" y="0"/>
                        </a:cxn>
                        <a:cxn ang="0">
                          <a:pos x="30" y="0"/>
                        </a:cxn>
                        <a:cxn ang="0">
                          <a:pos x="30" y="0"/>
                        </a:cxn>
                        <a:cxn ang="0">
                          <a:pos x="30" y="0"/>
                        </a:cxn>
                        <a:cxn ang="0">
                          <a:pos x="23" y="8"/>
                        </a:cxn>
                        <a:cxn ang="0">
                          <a:pos x="23" y="8"/>
                        </a:cxn>
                        <a:cxn ang="0">
                          <a:pos x="9" y="19"/>
                        </a:cxn>
                        <a:cxn ang="0">
                          <a:pos x="9" y="19"/>
                        </a:cxn>
                        <a:cxn ang="0">
                          <a:pos x="2" y="22"/>
                        </a:cxn>
                        <a:cxn ang="0">
                          <a:pos x="2" y="22"/>
                        </a:cxn>
                        <a:cxn ang="0">
                          <a:pos x="2" y="22"/>
                        </a:cxn>
                        <a:cxn ang="0">
                          <a:pos x="2" y="22"/>
                        </a:cxn>
                      </a:cxnLst>
                      <a:rect l="0" t="0" r="r" b="b"/>
                      <a:pathLst>
                        <a:path w="30" h="22">
                          <a:moveTo>
                            <a:pt x="2" y="22"/>
                          </a:moveTo>
                          <a:lnTo>
                            <a:pt x="0" y="15"/>
                          </a:lnTo>
                          <a:lnTo>
                            <a:pt x="0" y="15"/>
                          </a:lnTo>
                          <a:lnTo>
                            <a:pt x="2" y="15"/>
                          </a:lnTo>
                          <a:lnTo>
                            <a:pt x="2" y="15"/>
                          </a:lnTo>
                          <a:lnTo>
                            <a:pt x="2" y="15"/>
                          </a:lnTo>
                          <a:lnTo>
                            <a:pt x="2" y="15"/>
                          </a:lnTo>
                          <a:lnTo>
                            <a:pt x="2" y="12"/>
                          </a:lnTo>
                          <a:lnTo>
                            <a:pt x="2" y="12"/>
                          </a:lnTo>
                          <a:lnTo>
                            <a:pt x="7" y="15"/>
                          </a:lnTo>
                          <a:lnTo>
                            <a:pt x="7" y="15"/>
                          </a:lnTo>
                          <a:lnTo>
                            <a:pt x="7" y="15"/>
                          </a:lnTo>
                          <a:lnTo>
                            <a:pt x="7" y="15"/>
                          </a:lnTo>
                          <a:lnTo>
                            <a:pt x="9" y="15"/>
                          </a:lnTo>
                          <a:lnTo>
                            <a:pt x="9" y="15"/>
                          </a:lnTo>
                          <a:lnTo>
                            <a:pt x="18" y="10"/>
                          </a:lnTo>
                          <a:lnTo>
                            <a:pt x="18" y="10"/>
                          </a:lnTo>
                          <a:lnTo>
                            <a:pt x="21" y="8"/>
                          </a:lnTo>
                          <a:lnTo>
                            <a:pt x="21" y="8"/>
                          </a:lnTo>
                          <a:lnTo>
                            <a:pt x="21" y="5"/>
                          </a:lnTo>
                          <a:lnTo>
                            <a:pt x="21" y="5"/>
                          </a:lnTo>
                          <a:lnTo>
                            <a:pt x="21" y="5"/>
                          </a:lnTo>
                          <a:lnTo>
                            <a:pt x="21" y="5"/>
                          </a:lnTo>
                          <a:lnTo>
                            <a:pt x="21" y="5"/>
                          </a:lnTo>
                          <a:lnTo>
                            <a:pt x="21" y="5"/>
                          </a:lnTo>
                          <a:lnTo>
                            <a:pt x="21" y="3"/>
                          </a:lnTo>
                          <a:lnTo>
                            <a:pt x="21" y="3"/>
                          </a:lnTo>
                          <a:lnTo>
                            <a:pt x="26" y="0"/>
                          </a:lnTo>
                          <a:lnTo>
                            <a:pt x="26" y="0"/>
                          </a:lnTo>
                          <a:lnTo>
                            <a:pt x="30" y="0"/>
                          </a:lnTo>
                          <a:lnTo>
                            <a:pt x="30" y="0"/>
                          </a:lnTo>
                          <a:lnTo>
                            <a:pt x="30" y="0"/>
                          </a:lnTo>
                          <a:lnTo>
                            <a:pt x="30" y="0"/>
                          </a:lnTo>
                          <a:lnTo>
                            <a:pt x="23" y="8"/>
                          </a:lnTo>
                          <a:lnTo>
                            <a:pt x="23" y="8"/>
                          </a:lnTo>
                          <a:lnTo>
                            <a:pt x="9" y="19"/>
                          </a:lnTo>
                          <a:lnTo>
                            <a:pt x="9" y="19"/>
                          </a:lnTo>
                          <a:lnTo>
                            <a:pt x="2" y="22"/>
                          </a:lnTo>
                          <a:lnTo>
                            <a:pt x="2" y="22"/>
                          </a:lnTo>
                          <a:lnTo>
                            <a:pt x="2" y="22"/>
                          </a:lnTo>
                          <a:lnTo>
                            <a:pt x="2" y="22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80" name="Freeform 1158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412" y="1555"/>
                      <a:ext cx="18" cy="16"/>
                    </a:xfrm>
                    <a:custGeom>
                      <a:avLst/>
                      <a:gdLst/>
                      <a:ahLst/>
                      <a:cxnLst>
                        <a:cxn ang="0">
                          <a:pos x="4" y="14"/>
                        </a:cxn>
                        <a:cxn ang="0">
                          <a:pos x="2" y="14"/>
                        </a:cxn>
                        <a:cxn ang="0">
                          <a:pos x="2" y="14"/>
                        </a:cxn>
                        <a:cxn ang="0">
                          <a:pos x="2" y="12"/>
                        </a:cxn>
                        <a:cxn ang="0">
                          <a:pos x="2" y="12"/>
                        </a:cxn>
                        <a:cxn ang="0">
                          <a:pos x="2" y="12"/>
                        </a:cxn>
                        <a:cxn ang="0">
                          <a:pos x="2" y="12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2" y="10"/>
                        </a:cxn>
                        <a:cxn ang="0">
                          <a:pos x="2" y="10"/>
                        </a:cxn>
                        <a:cxn ang="0">
                          <a:pos x="2" y="10"/>
                        </a:cxn>
                        <a:cxn ang="0">
                          <a:pos x="2" y="10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4" y="5"/>
                        </a:cxn>
                        <a:cxn ang="0">
                          <a:pos x="4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9" y="3"/>
                        </a:cxn>
                        <a:cxn ang="0">
                          <a:pos x="9" y="3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6" y="3"/>
                        </a:cxn>
                        <a:cxn ang="0">
                          <a:pos x="16" y="3"/>
                        </a:cxn>
                        <a:cxn ang="0">
                          <a:pos x="14" y="5"/>
                        </a:cxn>
                        <a:cxn ang="0">
                          <a:pos x="14" y="5"/>
                        </a:cxn>
                        <a:cxn ang="0">
                          <a:pos x="9" y="5"/>
                        </a:cxn>
                        <a:cxn ang="0">
                          <a:pos x="9" y="5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4" y="10"/>
                        </a:cxn>
                        <a:cxn ang="0">
                          <a:pos x="4" y="10"/>
                        </a:cxn>
                        <a:cxn ang="0">
                          <a:pos x="4" y="12"/>
                        </a:cxn>
                        <a:cxn ang="0">
                          <a:pos x="4" y="12"/>
                        </a:cxn>
                        <a:cxn ang="0">
                          <a:pos x="4" y="14"/>
                        </a:cxn>
                        <a:cxn ang="0">
                          <a:pos x="4" y="14"/>
                        </a:cxn>
                        <a:cxn ang="0">
                          <a:pos x="4" y="14"/>
                        </a:cxn>
                        <a:cxn ang="0">
                          <a:pos x="4" y="14"/>
                        </a:cxn>
                      </a:cxnLst>
                      <a:rect l="0" t="0" r="r" b="b"/>
                      <a:pathLst>
                        <a:path w="16" h="14">
                          <a:moveTo>
                            <a:pt x="4" y="14"/>
                          </a:moveTo>
                          <a:lnTo>
                            <a:pt x="2" y="14"/>
                          </a:lnTo>
                          <a:lnTo>
                            <a:pt x="2" y="14"/>
                          </a:lnTo>
                          <a:lnTo>
                            <a:pt x="2" y="12"/>
                          </a:lnTo>
                          <a:lnTo>
                            <a:pt x="2" y="12"/>
                          </a:lnTo>
                          <a:lnTo>
                            <a:pt x="2" y="12"/>
                          </a:lnTo>
                          <a:lnTo>
                            <a:pt x="2" y="12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2" y="10"/>
                          </a:lnTo>
                          <a:lnTo>
                            <a:pt x="2" y="10"/>
                          </a:lnTo>
                          <a:lnTo>
                            <a:pt x="2" y="10"/>
                          </a:lnTo>
                          <a:lnTo>
                            <a:pt x="2" y="10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4" y="5"/>
                          </a:lnTo>
                          <a:lnTo>
                            <a:pt x="4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9" y="3"/>
                          </a:lnTo>
                          <a:lnTo>
                            <a:pt x="9" y="3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6" y="3"/>
                          </a:lnTo>
                          <a:lnTo>
                            <a:pt x="16" y="3"/>
                          </a:lnTo>
                          <a:lnTo>
                            <a:pt x="14" y="5"/>
                          </a:lnTo>
                          <a:lnTo>
                            <a:pt x="14" y="5"/>
                          </a:lnTo>
                          <a:lnTo>
                            <a:pt x="9" y="5"/>
                          </a:lnTo>
                          <a:lnTo>
                            <a:pt x="9" y="5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4" y="10"/>
                          </a:lnTo>
                          <a:lnTo>
                            <a:pt x="4" y="10"/>
                          </a:lnTo>
                          <a:lnTo>
                            <a:pt x="4" y="12"/>
                          </a:lnTo>
                          <a:lnTo>
                            <a:pt x="4" y="12"/>
                          </a:lnTo>
                          <a:lnTo>
                            <a:pt x="4" y="14"/>
                          </a:lnTo>
                          <a:lnTo>
                            <a:pt x="4" y="14"/>
                          </a:lnTo>
                          <a:lnTo>
                            <a:pt x="4" y="14"/>
                          </a:lnTo>
                          <a:lnTo>
                            <a:pt x="4" y="14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81" name="Freeform 1159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382" y="1560"/>
                      <a:ext cx="24" cy="14"/>
                    </a:xfrm>
                    <a:custGeom>
                      <a:avLst/>
                      <a:gdLst/>
                      <a:ahLst/>
                      <a:cxnLst>
                        <a:cxn ang="0">
                          <a:pos x="4" y="12"/>
                        </a:cxn>
                        <a:cxn ang="0">
                          <a:pos x="0" y="9"/>
                        </a:cxn>
                        <a:cxn ang="0">
                          <a:pos x="0" y="9"/>
                        </a:cxn>
                        <a:cxn ang="0">
                          <a:pos x="0" y="9"/>
                        </a:cxn>
                        <a:cxn ang="0">
                          <a:pos x="0" y="9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9" y="7"/>
                        </a:cxn>
                        <a:cxn ang="0">
                          <a:pos x="9" y="7"/>
                        </a:cxn>
                        <a:cxn ang="0">
                          <a:pos x="9" y="7"/>
                        </a:cxn>
                        <a:cxn ang="0">
                          <a:pos x="9" y="7"/>
                        </a:cxn>
                        <a:cxn ang="0">
                          <a:pos x="11" y="7"/>
                        </a:cxn>
                        <a:cxn ang="0">
                          <a:pos x="11" y="7"/>
                        </a:cxn>
                        <a:cxn ang="0">
                          <a:pos x="16" y="5"/>
                        </a:cxn>
                        <a:cxn ang="0">
                          <a:pos x="16" y="5"/>
                        </a:cxn>
                        <a:cxn ang="0">
                          <a:pos x="18" y="2"/>
                        </a:cxn>
                        <a:cxn ang="0">
                          <a:pos x="18" y="2"/>
                        </a:cxn>
                        <a:cxn ang="0">
                          <a:pos x="18" y="2"/>
                        </a:cxn>
                        <a:cxn ang="0">
                          <a:pos x="18" y="2"/>
                        </a:cxn>
                        <a:cxn ang="0">
                          <a:pos x="18" y="0"/>
                        </a:cxn>
                        <a:cxn ang="0">
                          <a:pos x="18" y="0"/>
                        </a:cxn>
                        <a:cxn ang="0">
                          <a:pos x="18" y="0"/>
                        </a:cxn>
                        <a:cxn ang="0">
                          <a:pos x="18" y="0"/>
                        </a:cxn>
                        <a:cxn ang="0">
                          <a:pos x="18" y="0"/>
                        </a:cxn>
                        <a:cxn ang="0">
                          <a:pos x="18" y="0"/>
                        </a:cxn>
                        <a:cxn ang="0">
                          <a:pos x="21" y="0"/>
                        </a:cxn>
                        <a:cxn ang="0">
                          <a:pos x="21" y="0"/>
                        </a:cxn>
                        <a:cxn ang="0">
                          <a:pos x="21" y="2"/>
                        </a:cxn>
                        <a:cxn ang="0">
                          <a:pos x="21" y="2"/>
                        </a:cxn>
                        <a:cxn ang="0">
                          <a:pos x="21" y="5"/>
                        </a:cxn>
                        <a:cxn ang="0">
                          <a:pos x="21" y="5"/>
                        </a:cxn>
                        <a:cxn ang="0">
                          <a:pos x="21" y="5"/>
                        </a:cxn>
                        <a:cxn ang="0">
                          <a:pos x="21" y="5"/>
                        </a:cxn>
                        <a:cxn ang="0">
                          <a:pos x="21" y="7"/>
                        </a:cxn>
                        <a:cxn ang="0">
                          <a:pos x="21" y="7"/>
                        </a:cxn>
                        <a:cxn ang="0">
                          <a:pos x="7" y="12"/>
                        </a:cxn>
                        <a:cxn ang="0">
                          <a:pos x="7" y="12"/>
                        </a:cxn>
                        <a:cxn ang="0">
                          <a:pos x="4" y="12"/>
                        </a:cxn>
                        <a:cxn ang="0">
                          <a:pos x="4" y="12"/>
                        </a:cxn>
                        <a:cxn ang="0">
                          <a:pos x="4" y="12"/>
                        </a:cxn>
                        <a:cxn ang="0">
                          <a:pos x="4" y="12"/>
                        </a:cxn>
                      </a:cxnLst>
                      <a:rect l="0" t="0" r="r" b="b"/>
                      <a:pathLst>
                        <a:path w="21" h="12">
                          <a:moveTo>
                            <a:pt x="4" y="12"/>
                          </a:moveTo>
                          <a:lnTo>
                            <a:pt x="0" y="9"/>
                          </a:lnTo>
                          <a:lnTo>
                            <a:pt x="0" y="9"/>
                          </a:lnTo>
                          <a:lnTo>
                            <a:pt x="0" y="9"/>
                          </a:lnTo>
                          <a:lnTo>
                            <a:pt x="0" y="9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9" y="7"/>
                          </a:lnTo>
                          <a:lnTo>
                            <a:pt x="9" y="7"/>
                          </a:lnTo>
                          <a:lnTo>
                            <a:pt x="9" y="7"/>
                          </a:lnTo>
                          <a:lnTo>
                            <a:pt x="9" y="7"/>
                          </a:lnTo>
                          <a:lnTo>
                            <a:pt x="11" y="7"/>
                          </a:lnTo>
                          <a:lnTo>
                            <a:pt x="11" y="7"/>
                          </a:lnTo>
                          <a:lnTo>
                            <a:pt x="16" y="5"/>
                          </a:lnTo>
                          <a:lnTo>
                            <a:pt x="16" y="5"/>
                          </a:lnTo>
                          <a:lnTo>
                            <a:pt x="18" y="2"/>
                          </a:lnTo>
                          <a:lnTo>
                            <a:pt x="18" y="2"/>
                          </a:lnTo>
                          <a:lnTo>
                            <a:pt x="18" y="2"/>
                          </a:lnTo>
                          <a:lnTo>
                            <a:pt x="18" y="2"/>
                          </a:lnTo>
                          <a:lnTo>
                            <a:pt x="18" y="0"/>
                          </a:lnTo>
                          <a:lnTo>
                            <a:pt x="18" y="0"/>
                          </a:lnTo>
                          <a:lnTo>
                            <a:pt x="18" y="0"/>
                          </a:lnTo>
                          <a:lnTo>
                            <a:pt x="18" y="0"/>
                          </a:lnTo>
                          <a:lnTo>
                            <a:pt x="18" y="0"/>
                          </a:lnTo>
                          <a:lnTo>
                            <a:pt x="18" y="0"/>
                          </a:lnTo>
                          <a:lnTo>
                            <a:pt x="21" y="0"/>
                          </a:lnTo>
                          <a:lnTo>
                            <a:pt x="21" y="0"/>
                          </a:lnTo>
                          <a:lnTo>
                            <a:pt x="21" y="2"/>
                          </a:lnTo>
                          <a:lnTo>
                            <a:pt x="21" y="2"/>
                          </a:lnTo>
                          <a:lnTo>
                            <a:pt x="21" y="5"/>
                          </a:lnTo>
                          <a:lnTo>
                            <a:pt x="21" y="5"/>
                          </a:lnTo>
                          <a:lnTo>
                            <a:pt x="21" y="5"/>
                          </a:lnTo>
                          <a:lnTo>
                            <a:pt x="21" y="5"/>
                          </a:lnTo>
                          <a:lnTo>
                            <a:pt x="21" y="7"/>
                          </a:lnTo>
                          <a:lnTo>
                            <a:pt x="21" y="7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4" y="12"/>
                          </a:lnTo>
                          <a:lnTo>
                            <a:pt x="4" y="12"/>
                          </a:lnTo>
                          <a:lnTo>
                            <a:pt x="4" y="12"/>
                          </a:lnTo>
                          <a:lnTo>
                            <a:pt x="4" y="12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82" name="Freeform 1160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345" y="1574"/>
                      <a:ext cx="10" cy="5"/>
                    </a:xfrm>
                    <a:custGeom>
                      <a:avLst/>
                      <a:gdLst/>
                      <a:ahLst/>
                      <a:cxnLst>
                        <a:cxn ang="0">
                          <a:pos x="2" y="4"/>
                        </a:cxn>
                        <a:cxn ang="0">
                          <a:pos x="0" y="4"/>
                        </a:cxn>
                        <a:cxn ang="0">
                          <a:pos x="0" y="4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4" y="0"/>
                        </a:cxn>
                        <a:cxn ang="0">
                          <a:pos x="4" y="0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9" y="0"/>
                        </a:cxn>
                        <a:cxn ang="0">
                          <a:pos x="9" y="0"/>
                        </a:cxn>
                        <a:cxn ang="0">
                          <a:pos x="9" y="0"/>
                        </a:cxn>
                        <a:cxn ang="0">
                          <a:pos x="9" y="0"/>
                        </a:cxn>
                        <a:cxn ang="0">
                          <a:pos x="9" y="2"/>
                        </a:cxn>
                        <a:cxn ang="0">
                          <a:pos x="9" y="2"/>
                        </a:cxn>
                        <a:cxn ang="0">
                          <a:pos x="9" y="2"/>
                        </a:cxn>
                        <a:cxn ang="0">
                          <a:pos x="9" y="2"/>
                        </a:cxn>
                        <a:cxn ang="0">
                          <a:pos x="9" y="2"/>
                        </a:cxn>
                        <a:cxn ang="0">
                          <a:pos x="9" y="2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4" y="2"/>
                        </a:cxn>
                        <a:cxn ang="0">
                          <a:pos x="4" y="2"/>
                        </a:cxn>
                        <a:cxn ang="0">
                          <a:pos x="4" y="2"/>
                        </a:cxn>
                        <a:cxn ang="0">
                          <a:pos x="4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4"/>
                        </a:cxn>
                        <a:cxn ang="0">
                          <a:pos x="2" y="4"/>
                        </a:cxn>
                        <a:cxn ang="0">
                          <a:pos x="2" y="4"/>
                        </a:cxn>
                        <a:cxn ang="0">
                          <a:pos x="2" y="4"/>
                        </a:cxn>
                      </a:cxnLst>
                      <a:rect l="0" t="0" r="r" b="b"/>
                      <a:pathLst>
                        <a:path w="9" h="4">
                          <a:moveTo>
                            <a:pt x="2" y="4"/>
                          </a:moveTo>
                          <a:lnTo>
                            <a:pt x="0" y="4"/>
                          </a:lnTo>
                          <a:lnTo>
                            <a:pt x="0" y="4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4" y="0"/>
                          </a:lnTo>
                          <a:lnTo>
                            <a:pt x="4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9" y="0"/>
                          </a:lnTo>
                          <a:lnTo>
                            <a:pt x="9" y="0"/>
                          </a:lnTo>
                          <a:lnTo>
                            <a:pt x="9" y="0"/>
                          </a:lnTo>
                          <a:lnTo>
                            <a:pt x="9" y="0"/>
                          </a:lnTo>
                          <a:lnTo>
                            <a:pt x="9" y="2"/>
                          </a:lnTo>
                          <a:lnTo>
                            <a:pt x="9" y="2"/>
                          </a:lnTo>
                          <a:lnTo>
                            <a:pt x="9" y="2"/>
                          </a:lnTo>
                          <a:lnTo>
                            <a:pt x="9" y="2"/>
                          </a:lnTo>
                          <a:lnTo>
                            <a:pt x="9" y="2"/>
                          </a:lnTo>
                          <a:lnTo>
                            <a:pt x="9" y="2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4" y="2"/>
                          </a:lnTo>
                          <a:lnTo>
                            <a:pt x="4" y="2"/>
                          </a:lnTo>
                          <a:lnTo>
                            <a:pt x="4" y="2"/>
                          </a:lnTo>
                          <a:lnTo>
                            <a:pt x="4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4"/>
                          </a:lnTo>
                          <a:lnTo>
                            <a:pt x="2" y="4"/>
                          </a:lnTo>
                          <a:lnTo>
                            <a:pt x="2" y="4"/>
                          </a:lnTo>
                          <a:lnTo>
                            <a:pt x="2" y="4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83" name="Freeform 1161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325" y="1576"/>
                      <a:ext cx="8" cy="6"/>
                    </a:xfrm>
                    <a:custGeom>
                      <a:avLst/>
                      <a:gdLst/>
                      <a:ahLst/>
                      <a:cxnLst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</a:cxnLst>
                      <a:rect l="0" t="0" r="r" b="b"/>
                      <a:pathLst>
                        <a:path w="7" h="5">
                          <a:moveTo>
                            <a:pt x="5" y="5"/>
                          </a:move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grpSp>
                <p:nvGrpSpPr>
                  <p:cNvPr id="393" name="Group 1162"/>
                  <p:cNvGrpSpPr>
                    <a:grpSpLocks/>
                  </p:cNvGrpSpPr>
                  <p:nvPr/>
                </p:nvGrpSpPr>
                <p:grpSpPr bwMode="auto">
                  <a:xfrm>
                    <a:off x="1220812" y="1246286"/>
                    <a:ext cx="2616246" cy="1097023"/>
                    <a:chOff x="917" y="1208"/>
                    <a:chExt cx="1776" cy="745"/>
                  </a:xfrm>
                  <a:grpFill/>
                  <a:effectLst/>
                </p:grpSpPr>
                <p:sp>
                  <p:nvSpPr>
                    <p:cNvPr id="440" name="Freeform 1163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917" y="1229"/>
                      <a:ext cx="1776" cy="724"/>
                    </a:xfrm>
                    <a:custGeom>
                      <a:avLst/>
                      <a:gdLst/>
                      <a:ahLst/>
                      <a:cxnLst>
                        <a:cxn ang="0">
                          <a:pos x="16" y="239"/>
                        </a:cxn>
                        <a:cxn ang="0">
                          <a:pos x="59" y="220"/>
                        </a:cxn>
                        <a:cxn ang="0">
                          <a:pos x="90" y="225"/>
                        </a:cxn>
                        <a:cxn ang="0">
                          <a:pos x="97" y="137"/>
                        </a:cxn>
                        <a:cxn ang="0">
                          <a:pos x="179" y="71"/>
                        </a:cxn>
                        <a:cxn ang="0">
                          <a:pos x="255" y="38"/>
                        </a:cxn>
                        <a:cxn ang="0">
                          <a:pos x="385" y="3"/>
                        </a:cxn>
                        <a:cxn ang="0">
                          <a:pos x="489" y="7"/>
                        </a:cxn>
                        <a:cxn ang="0">
                          <a:pos x="524" y="10"/>
                        </a:cxn>
                        <a:cxn ang="0">
                          <a:pos x="581" y="24"/>
                        </a:cxn>
                        <a:cxn ang="0">
                          <a:pos x="673" y="52"/>
                        </a:cxn>
                        <a:cxn ang="0">
                          <a:pos x="744" y="55"/>
                        </a:cxn>
                        <a:cxn ang="0">
                          <a:pos x="761" y="78"/>
                        </a:cxn>
                        <a:cxn ang="0">
                          <a:pos x="805" y="144"/>
                        </a:cxn>
                        <a:cxn ang="0">
                          <a:pos x="893" y="156"/>
                        </a:cxn>
                        <a:cxn ang="0">
                          <a:pos x="902" y="154"/>
                        </a:cxn>
                        <a:cxn ang="0">
                          <a:pos x="976" y="201"/>
                        </a:cxn>
                        <a:cxn ang="0">
                          <a:pos x="1027" y="230"/>
                        </a:cxn>
                        <a:cxn ang="0">
                          <a:pos x="1011" y="206"/>
                        </a:cxn>
                        <a:cxn ang="0">
                          <a:pos x="1056" y="218"/>
                        </a:cxn>
                        <a:cxn ang="0">
                          <a:pos x="1030" y="248"/>
                        </a:cxn>
                        <a:cxn ang="0">
                          <a:pos x="1084" y="286"/>
                        </a:cxn>
                        <a:cxn ang="0">
                          <a:pos x="1108" y="324"/>
                        </a:cxn>
                        <a:cxn ang="0">
                          <a:pos x="1155" y="326"/>
                        </a:cxn>
                        <a:cxn ang="0">
                          <a:pos x="1193" y="348"/>
                        </a:cxn>
                        <a:cxn ang="0">
                          <a:pos x="1276" y="397"/>
                        </a:cxn>
                        <a:cxn ang="0">
                          <a:pos x="1353" y="411"/>
                        </a:cxn>
                        <a:cxn ang="0">
                          <a:pos x="1349" y="437"/>
                        </a:cxn>
                        <a:cxn ang="0">
                          <a:pos x="1323" y="461"/>
                        </a:cxn>
                        <a:cxn ang="0">
                          <a:pos x="1361" y="452"/>
                        </a:cxn>
                        <a:cxn ang="0">
                          <a:pos x="1370" y="468"/>
                        </a:cxn>
                        <a:cxn ang="0">
                          <a:pos x="1389" y="468"/>
                        </a:cxn>
                        <a:cxn ang="0">
                          <a:pos x="1457" y="485"/>
                        </a:cxn>
                        <a:cxn ang="0">
                          <a:pos x="1514" y="537"/>
                        </a:cxn>
                        <a:cxn ang="0">
                          <a:pos x="1550" y="577"/>
                        </a:cxn>
                        <a:cxn ang="0">
                          <a:pos x="1479" y="593"/>
                        </a:cxn>
                        <a:cxn ang="0">
                          <a:pos x="1413" y="619"/>
                        </a:cxn>
                        <a:cxn ang="0">
                          <a:pos x="1370" y="622"/>
                        </a:cxn>
                        <a:cxn ang="0">
                          <a:pos x="1254" y="603"/>
                        </a:cxn>
                        <a:cxn ang="0">
                          <a:pos x="1162" y="617"/>
                        </a:cxn>
                        <a:cxn ang="0">
                          <a:pos x="1103" y="624"/>
                        </a:cxn>
                        <a:cxn ang="0">
                          <a:pos x="1039" y="626"/>
                        </a:cxn>
                        <a:cxn ang="0">
                          <a:pos x="1134" y="520"/>
                        </a:cxn>
                        <a:cxn ang="0">
                          <a:pos x="1113" y="478"/>
                        </a:cxn>
                        <a:cxn ang="0">
                          <a:pos x="1037" y="470"/>
                        </a:cxn>
                        <a:cxn ang="0">
                          <a:pos x="966" y="435"/>
                        </a:cxn>
                        <a:cxn ang="0">
                          <a:pos x="881" y="296"/>
                        </a:cxn>
                        <a:cxn ang="0">
                          <a:pos x="801" y="303"/>
                        </a:cxn>
                        <a:cxn ang="0">
                          <a:pos x="742" y="279"/>
                        </a:cxn>
                        <a:cxn ang="0">
                          <a:pos x="716" y="274"/>
                        </a:cxn>
                        <a:cxn ang="0">
                          <a:pos x="654" y="222"/>
                        </a:cxn>
                        <a:cxn ang="0">
                          <a:pos x="557" y="208"/>
                        </a:cxn>
                        <a:cxn ang="0">
                          <a:pos x="541" y="211"/>
                        </a:cxn>
                        <a:cxn ang="0">
                          <a:pos x="527" y="206"/>
                        </a:cxn>
                        <a:cxn ang="0">
                          <a:pos x="449" y="187"/>
                        </a:cxn>
                        <a:cxn ang="0">
                          <a:pos x="406" y="156"/>
                        </a:cxn>
                        <a:cxn ang="0">
                          <a:pos x="477" y="116"/>
                        </a:cxn>
                        <a:cxn ang="0">
                          <a:pos x="376" y="97"/>
                        </a:cxn>
                        <a:cxn ang="0">
                          <a:pos x="276" y="128"/>
                        </a:cxn>
                        <a:cxn ang="0">
                          <a:pos x="213" y="189"/>
                        </a:cxn>
                        <a:cxn ang="0">
                          <a:pos x="153" y="192"/>
                        </a:cxn>
                        <a:cxn ang="0">
                          <a:pos x="99" y="244"/>
                        </a:cxn>
                        <a:cxn ang="0">
                          <a:pos x="66" y="239"/>
                        </a:cxn>
                      </a:cxnLst>
                      <a:rect l="0" t="0" r="r" b="b"/>
                      <a:pathLst>
                        <a:path w="1561" h="636">
                          <a:moveTo>
                            <a:pt x="19" y="260"/>
                          </a:moveTo>
                          <a:lnTo>
                            <a:pt x="2" y="256"/>
                          </a:lnTo>
                          <a:lnTo>
                            <a:pt x="2" y="256"/>
                          </a:lnTo>
                          <a:lnTo>
                            <a:pt x="0" y="253"/>
                          </a:lnTo>
                          <a:lnTo>
                            <a:pt x="0" y="253"/>
                          </a:lnTo>
                          <a:lnTo>
                            <a:pt x="0" y="253"/>
                          </a:lnTo>
                          <a:lnTo>
                            <a:pt x="0" y="253"/>
                          </a:lnTo>
                          <a:lnTo>
                            <a:pt x="0" y="253"/>
                          </a:lnTo>
                          <a:lnTo>
                            <a:pt x="0" y="253"/>
                          </a:lnTo>
                          <a:lnTo>
                            <a:pt x="0" y="248"/>
                          </a:lnTo>
                          <a:lnTo>
                            <a:pt x="0" y="248"/>
                          </a:lnTo>
                          <a:lnTo>
                            <a:pt x="0" y="248"/>
                          </a:lnTo>
                          <a:lnTo>
                            <a:pt x="0" y="248"/>
                          </a:lnTo>
                          <a:lnTo>
                            <a:pt x="2" y="244"/>
                          </a:lnTo>
                          <a:lnTo>
                            <a:pt x="2" y="244"/>
                          </a:lnTo>
                          <a:lnTo>
                            <a:pt x="2" y="239"/>
                          </a:lnTo>
                          <a:lnTo>
                            <a:pt x="2" y="239"/>
                          </a:lnTo>
                          <a:lnTo>
                            <a:pt x="5" y="239"/>
                          </a:lnTo>
                          <a:lnTo>
                            <a:pt x="5" y="239"/>
                          </a:lnTo>
                          <a:lnTo>
                            <a:pt x="5" y="241"/>
                          </a:lnTo>
                          <a:lnTo>
                            <a:pt x="5" y="241"/>
                          </a:lnTo>
                          <a:lnTo>
                            <a:pt x="7" y="244"/>
                          </a:lnTo>
                          <a:lnTo>
                            <a:pt x="7" y="244"/>
                          </a:lnTo>
                          <a:lnTo>
                            <a:pt x="12" y="246"/>
                          </a:lnTo>
                          <a:lnTo>
                            <a:pt x="12" y="246"/>
                          </a:lnTo>
                          <a:lnTo>
                            <a:pt x="16" y="244"/>
                          </a:lnTo>
                          <a:lnTo>
                            <a:pt x="16" y="244"/>
                          </a:lnTo>
                          <a:lnTo>
                            <a:pt x="19" y="241"/>
                          </a:lnTo>
                          <a:lnTo>
                            <a:pt x="19" y="241"/>
                          </a:lnTo>
                          <a:lnTo>
                            <a:pt x="19" y="241"/>
                          </a:lnTo>
                          <a:lnTo>
                            <a:pt x="19" y="241"/>
                          </a:lnTo>
                          <a:lnTo>
                            <a:pt x="16" y="239"/>
                          </a:lnTo>
                          <a:lnTo>
                            <a:pt x="16" y="239"/>
                          </a:lnTo>
                          <a:lnTo>
                            <a:pt x="16" y="239"/>
                          </a:lnTo>
                          <a:lnTo>
                            <a:pt x="16" y="239"/>
                          </a:lnTo>
                          <a:lnTo>
                            <a:pt x="14" y="239"/>
                          </a:lnTo>
                          <a:lnTo>
                            <a:pt x="14" y="239"/>
                          </a:lnTo>
                          <a:lnTo>
                            <a:pt x="14" y="239"/>
                          </a:lnTo>
                          <a:lnTo>
                            <a:pt x="14" y="239"/>
                          </a:lnTo>
                          <a:lnTo>
                            <a:pt x="12" y="241"/>
                          </a:lnTo>
                          <a:lnTo>
                            <a:pt x="12" y="241"/>
                          </a:lnTo>
                          <a:lnTo>
                            <a:pt x="12" y="241"/>
                          </a:lnTo>
                          <a:lnTo>
                            <a:pt x="12" y="241"/>
                          </a:lnTo>
                          <a:lnTo>
                            <a:pt x="12" y="241"/>
                          </a:lnTo>
                          <a:lnTo>
                            <a:pt x="12" y="241"/>
                          </a:lnTo>
                          <a:lnTo>
                            <a:pt x="14" y="237"/>
                          </a:lnTo>
                          <a:lnTo>
                            <a:pt x="14" y="237"/>
                          </a:lnTo>
                          <a:lnTo>
                            <a:pt x="19" y="237"/>
                          </a:lnTo>
                          <a:lnTo>
                            <a:pt x="19" y="237"/>
                          </a:lnTo>
                          <a:lnTo>
                            <a:pt x="19" y="239"/>
                          </a:lnTo>
                          <a:lnTo>
                            <a:pt x="19" y="239"/>
                          </a:lnTo>
                          <a:lnTo>
                            <a:pt x="19" y="244"/>
                          </a:lnTo>
                          <a:lnTo>
                            <a:pt x="19" y="244"/>
                          </a:lnTo>
                          <a:lnTo>
                            <a:pt x="21" y="241"/>
                          </a:lnTo>
                          <a:lnTo>
                            <a:pt x="21" y="241"/>
                          </a:lnTo>
                          <a:lnTo>
                            <a:pt x="26" y="239"/>
                          </a:lnTo>
                          <a:lnTo>
                            <a:pt x="26" y="239"/>
                          </a:lnTo>
                          <a:lnTo>
                            <a:pt x="33" y="234"/>
                          </a:lnTo>
                          <a:lnTo>
                            <a:pt x="33" y="234"/>
                          </a:lnTo>
                          <a:lnTo>
                            <a:pt x="35" y="232"/>
                          </a:lnTo>
                          <a:lnTo>
                            <a:pt x="35" y="232"/>
                          </a:lnTo>
                          <a:lnTo>
                            <a:pt x="38" y="232"/>
                          </a:lnTo>
                          <a:lnTo>
                            <a:pt x="38" y="232"/>
                          </a:lnTo>
                          <a:lnTo>
                            <a:pt x="45" y="230"/>
                          </a:lnTo>
                          <a:lnTo>
                            <a:pt x="45" y="230"/>
                          </a:lnTo>
                          <a:lnTo>
                            <a:pt x="52" y="225"/>
                          </a:lnTo>
                          <a:lnTo>
                            <a:pt x="52" y="225"/>
                          </a:lnTo>
                          <a:lnTo>
                            <a:pt x="59" y="220"/>
                          </a:lnTo>
                          <a:lnTo>
                            <a:pt x="59" y="220"/>
                          </a:lnTo>
                          <a:lnTo>
                            <a:pt x="64" y="215"/>
                          </a:lnTo>
                          <a:lnTo>
                            <a:pt x="64" y="215"/>
                          </a:lnTo>
                          <a:lnTo>
                            <a:pt x="66" y="215"/>
                          </a:lnTo>
                          <a:lnTo>
                            <a:pt x="66" y="215"/>
                          </a:lnTo>
                          <a:lnTo>
                            <a:pt x="66" y="215"/>
                          </a:lnTo>
                          <a:lnTo>
                            <a:pt x="66" y="215"/>
                          </a:lnTo>
                          <a:lnTo>
                            <a:pt x="68" y="218"/>
                          </a:lnTo>
                          <a:lnTo>
                            <a:pt x="68" y="218"/>
                          </a:lnTo>
                          <a:lnTo>
                            <a:pt x="66" y="220"/>
                          </a:lnTo>
                          <a:lnTo>
                            <a:pt x="66" y="220"/>
                          </a:lnTo>
                          <a:lnTo>
                            <a:pt x="66" y="220"/>
                          </a:lnTo>
                          <a:lnTo>
                            <a:pt x="66" y="220"/>
                          </a:lnTo>
                          <a:lnTo>
                            <a:pt x="71" y="222"/>
                          </a:lnTo>
                          <a:lnTo>
                            <a:pt x="71" y="222"/>
                          </a:lnTo>
                          <a:lnTo>
                            <a:pt x="73" y="222"/>
                          </a:lnTo>
                          <a:lnTo>
                            <a:pt x="73" y="222"/>
                          </a:lnTo>
                          <a:lnTo>
                            <a:pt x="78" y="220"/>
                          </a:lnTo>
                          <a:lnTo>
                            <a:pt x="78" y="220"/>
                          </a:lnTo>
                          <a:lnTo>
                            <a:pt x="78" y="218"/>
                          </a:lnTo>
                          <a:lnTo>
                            <a:pt x="78" y="218"/>
                          </a:lnTo>
                          <a:lnTo>
                            <a:pt x="80" y="218"/>
                          </a:lnTo>
                          <a:lnTo>
                            <a:pt x="80" y="218"/>
                          </a:lnTo>
                          <a:lnTo>
                            <a:pt x="83" y="218"/>
                          </a:lnTo>
                          <a:lnTo>
                            <a:pt x="83" y="218"/>
                          </a:lnTo>
                          <a:lnTo>
                            <a:pt x="85" y="220"/>
                          </a:lnTo>
                          <a:lnTo>
                            <a:pt x="85" y="220"/>
                          </a:lnTo>
                          <a:lnTo>
                            <a:pt x="87" y="220"/>
                          </a:lnTo>
                          <a:lnTo>
                            <a:pt x="87" y="220"/>
                          </a:lnTo>
                          <a:lnTo>
                            <a:pt x="87" y="222"/>
                          </a:lnTo>
                          <a:lnTo>
                            <a:pt x="87" y="222"/>
                          </a:lnTo>
                          <a:lnTo>
                            <a:pt x="87" y="225"/>
                          </a:lnTo>
                          <a:lnTo>
                            <a:pt x="87" y="225"/>
                          </a:lnTo>
                          <a:lnTo>
                            <a:pt x="90" y="225"/>
                          </a:lnTo>
                          <a:lnTo>
                            <a:pt x="90" y="225"/>
                          </a:lnTo>
                          <a:lnTo>
                            <a:pt x="90" y="225"/>
                          </a:lnTo>
                          <a:lnTo>
                            <a:pt x="90" y="225"/>
                          </a:lnTo>
                          <a:lnTo>
                            <a:pt x="90" y="225"/>
                          </a:lnTo>
                          <a:lnTo>
                            <a:pt x="90" y="225"/>
                          </a:lnTo>
                          <a:lnTo>
                            <a:pt x="92" y="220"/>
                          </a:lnTo>
                          <a:lnTo>
                            <a:pt x="92" y="220"/>
                          </a:lnTo>
                          <a:lnTo>
                            <a:pt x="92" y="220"/>
                          </a:lnTo>
                          <a:lnTo>
                            <a:pt x="92" y="220"/>
                          </a:lnTo>
                          <a:lnTo>
                            <a:pt x="87" y="201"/>
                          </a:lnTo>
                          <a:lnTo>
                            <a:pt x="87" y="201"/>
                          </a:lnTo>
                          <a:lnTo>
                            <a:pt x="87" y="201"/>
                          </a:lnTo>
                          <a:lnTo>
                            <a:pt x="87" y="201"/>
                          </a:lnTo>
                          <a:lnTo>
                            <a:pt x="85" y="199"/>
                          </a:lnTo>
                          <a:lnTo>
                            <a:pt x="85" y="199"/>
                          </a:lnTo>
                          <a:lnTo>
                            <a:pt x="83" y="199"/>
                          </a:lnTo>
                          <a:lnTo>
                            <a:pt x="83" y="199"/>
                          </a:lnTo>
                          <a:lnTo>
                            <a:pt x="78" y="199"/>
                          </a:lnTo>
                          <a:lnTo>
                            <a:pt x="78" y="199"/>
                          </a:lnTo>
                          <a:lnTo>
                            <a:pt x="73" y="187"/>
                          </a:lnTo>
                          <a:lnTo>
                            <a:pt x="73" y="187"/>
                          </a:lnTo>
                          <a:lnTo>
                            <a:pt x="76" y="182"/>
                          </a:lnTo>
                          <a:lnTo>
                            <a:pt x="76" y="182"/>
                          </a:lnTo>
                          <a:lnTo>
                            <a:pt x="78" y="163"/>
                          </a:lnTo>
                          <a:lnTo>
                            <a:pt x="78" y="163"/>
                          </a:lnTo>
                          <a:lnTo>
                            <a:pt x="80" y="159"/>
                          </a:lnTo>
                          <a:lnTo>
                            <a:pt x="80" y="159"/>
                          </a:lnTo>
                          <a:lnTo>
                            <a:pt x="85" y="154"/>
                          </a:lnTo>
                          <a:lnTo>
                            <a:pt x="85" y="154"/>
                          </a:lnTo>
                          <a:lnTo>
                            <a:pt x="85" y="152"/>
                          </a:lnTo>
                          <a:lnTo>
                            <a:pt x="85" y="152"/>
                          </a:lnTo>
                          <a:lnTo>
                            <a:pt x="87" y="149"/>
                          </a:lnTo>
                          <a:lnTo>
                            <a:pt x="87" y="149"/>
                          </a:lnTo>
                          <a:lnTo>
                            <a:pt x="97" y="137"/>
                          </a:lnTo>
                          <a:lnTo>
                            <a:pt x="97" y="137"/>
                          </a:lnTo>
                          <a:lnTo>
                            <a:pt x="106" y="128"/>
                          </a:lnTo>
                          <a:lnTo>
                            <a:pt x="106" y="128"/>
                          </a:lnTo>
                          <a:lnTo>
                            <a:pt x="106" y="121"/>
                          </a:lnTo>
                          <a:lnTo>
                            <a:pt x="106" y="121"/>
                          </a:lnTo>
                          <a:lnTo>
                            <a:pt x="116" y="118"/>
                          </a:lnTo>
                          <a:lnTo>
                            <a:pt x="116" y="118"/>
                          </a:lnTo>
                          <a:lnTo>
                            <a:pt x="116" y="118"/>
                          </a:lnTo>
                          <a:lnTo>
                            <a:pt x="116" y="118"/>
                          </a:lnTo>
                          <a:lnTo>
                            <a:pt x="118" y="116"/>
                          </a:lnTo>
                          <a:lnTo>
                            <a:pt x="118" y="116"/>
                          </a:lnTo>
                          <a:lnTo>
                            <a:pt x="120" y="109"/>
                          </a:lnTo>
                          <a:lnTo>
                            <a:pt x="120" y="109"/>
                          </a:lnTo>
                          <a:lnTo>
                            <a:pt x="123" y="102"/>
                          </a:lnTo>
                          <a:lnTo>
                            <a:pt x="123" y="102"/>
                          </a:lnTo>
                          <a:lnTo>
                            <a:pt x="127" y="100"/>
                          </a:lnTo>
                          <a:lnTo>
                            <a:pt x="127" y="100"/>
                          </a:lnTo>
                          <a:lnTo>
                            <a:pt x="132" y="100"/>
                          </a:lnTo>
                          <a:lnTo>
                            <a:pt x="132" y="100"/>
                          </a:lnTo>
                          <a:lnTo>
                            <a:pt x="139" y="95"/>
                          </a:lnTo>
                          <a:lnTo>
                            <a:pt x="139" y="95"/>
                          </a:lnTo>
                          <a:lnTo>
                            <a:pt x="142" y="95"/>
                          </a:lnTo>
                          <a:lnTo>
                            <a:pt x="142" y="95"/>
                          </a:lnTo>
                          <a:lnTo>
                            <a:pt x="144" y="93"/>
                          </a:lnTo>
                          <a:lnTo>
                            <a:pt x="144" y="93"/>
                          </a:lnTo>
                          <a:lnTo>
                            <a:pt x="146" y="88"/>
                          </a:lnTo>
                          <a:lnTo>
                            <a:pt x="146" y="88"/>
                          </a:lnTo>
                          <a:lnTo>
                            <a:pt x="156" y="83"/>
                          </a:lnTo>
                          <a:lnTo>
                            <a:pt x="156" y="83"/>
                          </a:lnTo>
                          <a:lnTo>
                            <a:pt x="165" y="83"/>
                          </a:lnTo>
                          <a:lnTo>
                            <a:pt x="165" y="83"/>
                          </a:lnTo>
                          <a:lnTo>
                            <a:pt x="175" y="78"/>
                          </a:lnTo>
                          <a:lnTo>
                            <a:pt x="175" y="78"/>
                          </a:lnTo>
                          <a:lnTo>
                            <a:pt x="179" y="71"/>
                          </a:lnTo>
                          <a:lnTo>
                            <a:pt x="179" y="71"/>
                          </a:lnTo>
                          <a:lnTo>
                            <a:pt x="184" y="74"/>
                          </a:lnTo>
                          <a:lnTo>
                            <a:pt x="184" y="74"/>
                          </a:lnTo>
                          <a:lnTo>
                            <a:pt x="189" y="71"/>
                          </a:lnTo>
                          <a:lnTo>
                            <a:pt x="189" y="71"/>
                          </a:lnTo>
                          <a:lnTo>
                            <a:pt x="201" y="69"/>
                          </a:lnTo>
                          <a:lnTo>
                            <a:pt x="201" y="69"/>
                          </a:lnTo>
                          <a:lnTo>
                            <a:pt x="210" y="62"/>
                          </a:lnTo>
                          <a:lnTo>
                            <a:pt x="210" y="62"/>
                          </a:lnTo>
                          <a:lnTo>
                            <a:pt x="213" y="62"/>
                          </a:lnTo>
                          <a:lnTo>
                            <a:pt x="213" y="62"/>
                          </a:lnTo>
                          <a:lnTo>
                            <a:pt x="215" y="57"/>
                          </a:lnTo>
                          <a:lnTo>
                            <a:pt x="215" y="57"/>
                          </a:lnTo>
                          <a:lnTo>
                            <a:pt x="217" y="55"/>
                          </a:lnTo>
                          <a:lnTo>
                            <a:pt x="217" y="55"/>
                          </a:lnTo>
                          <a:lnTo>
                            <a:pt x="224" y="59"/>
                          </a:lnTo>
                          <a:lnTo>
                            <a:pt x="224" y="59"/>
                          </a:lnTo>
                          <a:lnTo>
                            <a:pt x="224" y="62"/>
                          </a:lnTo>
                          <a:lnTo>
                            <a:pt x="224" y="62"/>
                          </a:lnTo>
                          <a:lnTo>
                            <a:pt x="227" y="59"/>
                          </a:lnTo>
                          <a:lnTo>
                            <a:pt x="227" y="59"/>
                          </a:lnTo>
                          <a:lnTo>
                            <a:pt x="231" y="52"/>
                          </a:lnTo>
                          <a:lnTo>
                            <a:pt x="231" y="52"/>
                          </a:lnTo>
                          <a:lnTo>
                            <a:pt x="239" y="43"/>
                          </a:lnTo>
                          <a:lnTo>
                            <a:pt x="239" y="43"/>
                          </a:lnTo>
                          <a:lnTo>
                            <a:pt x="246" y="38"/>
                          </a:lnTo>
                          <a:lnTo>
                            <a:pt x="246" y="38"/>
                          </a:lnTo>
                          <a:lnTo>
                            <a:pt x="248" y="36"/>
                          </a:lnTo>
                          <a:lnTo>
                            <a:pt x="248" y="36"/>
                          </a:lnTo>
                          <a:lnTo>
                            <a:pt x="250" y="36"/>
                          </a:lnTo>
                          <a:lnTo>
                            <a:pt x="250" y="36"/>
                          </a:lnTo>
                          <a:lnTo>
                            <a:pt x="253" y="36"/>
                          </a:lnTo>
                          <a:lnTo>
                            <a:pt x="253" y="36"/>
                          </a:lnTo>
                          <a:lnTo>
                            <a:pt x="255" y="38"/>
                          </a:lnTo>
                          <a:lnTo>
                            <a:pt x="255" y="38"/>
                          </a:lnTo>
                          <a:lnTo>
                            <a:pt x="262" y="36"/>
                          </a:lnTo>
                          <a:lnTo>
                            <a:pt x="262" y="36"/>
                          </a:lnTo>
                          <a:lnTo>
                            <a:pt x="281" y="31"/>
                          </a:lnTo>
                          <a:lnTo>
                            <a:pt x="281" y="31"/>
                          </a:lnTo>
                          <a:lnTo>
                            <a:pt x="316" y="31"/>
                          </a:lnTo>
                          <a:lnTo>
                            <a:pt x="316" y="31"/>
                          </a:lnTo>
                          <a:lnTo>
                            <a:pt x="324" y="29"/>
                          </a:lnTo>
                          <a:lnTo>
                            <a:pt x="324" y="29"/>
                          </a:lnTo>
                          <a:lnTo>
                            <a:pt x="338" y="26"/>
                          </a:lnTo>
                          <a:lnTo>
                            <a:pt x="338" y="26"/>
                          </a:lnTo>
                          <a:lnTo>
                            <a:pt x="347" y="24"/>
                          </a:lnTo>
                          <a:lnTo>
                            <a:pt x="347" y="24"/>
                          </a:lnTo>
                          <a:lnTo>
                            <a:pt x="347" y="24"/>
                          </a:lnTo>
                          <a:lnTo>
                            <a:pt x="347" y="24"/>
                          </a:lnTo>
                          <a:lnTo>
                            <a:pt x="352" y="17"/>
                          </a:lnTo>
                          <a:lnTo>
                            <a:pt x="352" y="17"/>
                          </a:lnTo>
                          <a:lnTo>
                            <a:pt x="354" y="17"/>
                          </a:lnTo>
                          <a:lnTo>
                            <a:pt x="354" y="17"/>
                          </a:lnTo>
                          <a:lnTo>
                            <a:pt x="354" y="17"/>
                          </a:lnTo>
                          <a:lnTo>
                            <a:pt x="354" y="17"/>
                          </a:lnTo>
                          <a:lnTo>
                            <a:pt x="357" y="17"/>
                          </a:lnTo>
                          <a:lnTo>
                            <a:pt x="357" y="17"/>
                          </a:lnTo>
                          <a:lnTo>
                            <a:pt x="359" y="17"/>
                          </a:lnTo>
                          <a:lnTo>
                            <a:pt x="359" y="17"/>
                          </a:lnTo>
                          <a:lnTo>
                            <a:pt x="361" y="15"/>
                          </a:lnTo>
                          <a:lnTo>
                            <a:pt x="361" y="15"/>
                          </a:lnTo>
                          <a:lnTo>
                            <a:pt x="364" y="10"/>
                          </a:lnTo>
                          <a:lnTo>
                            <a:pt x="364" y="10"/>
                          </a:lnTo>
                          <a:lnTo>
                            <a:pt x="368" y="7"/>
                          </a:lnTo>
                          <a:lnTo>
                            <a:pt x="368" y="7"/>
                          </a:lnTo>
                          <a:lnTo>
                            <a:pt x="380" y="3"/>
                          </a:lnTo>
                          <a:lnTo>
                            <a:pt x="380" y="3"/>
                          </a:lnTo>
                          <a:lnTo>
                            <a:pt x="385" y="3"/>
                          </a:lnTo>
                          <a:lnTo>
                            <a:pt x="385" y="3"/>
                          </a:lnTo>
                          <a:lnTo>
                            <a:pt x="394" y="0"/>
                          </a:lnTo>
                          <a:lnTo>
                            <a:pt x="394" y="0"/>
                          </a:lnTo>
                          <a:lnTo>
                            <a:pt x="404" y="3"/>
                          </a:lnTo>
                          <a:lnTo>
                            <a:pt x="404" y="3"/>
                          </a:lnTo>
                          <a:lnTo>
                            <a:pt x="411" y="3"/>
                          </a:lnTo>
                          <a:lnTo>
                            <a:pt x="411" y="3"/>
                          </a:lnTo>
                          <a:lnTo>
                            <a:pt x="413" y="0"/>
                          </a:lnTo>
                          <a:lnTo>
                            <a:pt x="413" y="0"/>
                          </a:lnTo>
                          <a:lnTo>
                            <a:pt x="416" y="0"/>
                          </a:lnTo>
                          <a:lnTo>
                            <a:pt x="416" y="0"/>
                          </a:lnTo>
                          <a:lnTo>
                            <a:pt x="420" y="0"/>
                          </a:lnTo>
                          <a:lnTo>
                            <a:pt x="420" y="0"/>
                          </a:lnTo>
                          <a:lnTo>
                            <a:pt x="425" y="0"/>
                          </a:lnTo>
                          <a:lnTo>
                            <a:pt x="425" y="0"/>
                          </a:lnTo>
                          <a:lnTo>
                            <a:pt x="427" y="3"/>
                          </a:lnTo>
                          <a:lnTo>
                            <a:pt x="427" y="3"/>
                          </a:lnTo>
                          <a:lnTo>
                            <a:pt x="427" y="3"/>
                          </a:lnTo>
                          <a:lnTo>
                            <a:pt x="427" y="3"/>
                          </a:lnTo>
                          <a:lnTo>
                            <a:pt x="430" y="3"/>
                          </a:lnTo>
                          <a:lnTo>
                            <a:pt x="430" y="3"/>
                          </a:lnTo>
                          <a:lnTo>
                            <a:pt x="446" y="7"/>
                          </a:lnTo>
                          <a:lnTo>
                            <a:pt x="446" y="7"/>
                          </a:lnTo>
                          <a:lnTo>
                            <a:pt x="472" y="7"/>
                          </a:lnTo>
                          <a:lnTo>
                            <a:pt x="472" y="7"/>
                          </a:lnTo>
                          <a:lnTo>
                            <a:pt x="475" y="7"/>
                          </a:lnTo>
                          <a:lnTo>
                            <a:pt x="475" y="7"/>
                          </a:lnTo>
                          <a:lnTo>
                            <a:pt x="477" y="5"/>
                          </a:lnTo>
                          <a:lnTo>
                            <a:pt x="477" y="5"/>
                          </a:lnTo>
                          <a:lnTo>
                            <a:pt x="482" y="5"/>
                          </a:lnTo>
                          <a:lnTo>
                            <a:pt x="482" y="5"/>
                          </a:lnTo>
                          <a:lnTo>
                            <a:pt x="484" y="5"/>
                          </a:lnTo>
                          <a:lnTo>
                            <a:pt x="484" y="5"/>
                          </a:lnTo>
                          <a:lnTo>
                            <a:pt x="489" y="7"/>
                          </a:lnTo>
                          <a:lnTo>
                            <a:pt x="489" y="7"/>
                          </a:lnTo>
                          <a:lnTo>
                            <a:pt x="491" y="10"/>
                          </a:lnTo>
                          <a:lnTo>
                            <a:pt x="491" y="10"/>
                          </a:lnTo>
                          <a:lnTo>
                            <a:pt x="491" y="12"/>
                          </a:lnTo>
                          <a:lnTo>
                            <a:pt x="491" y="12"/>
                          </a:lnTo>
                          <a:lnTo>
                            <a:pt x="494" y="12"/>
                          </a:lnTo>
                          <a:lnTo>
                            <a:pt x="494" y="12"/>
                          </a:lnTo>
                          <a:lnTo>
                            <a:pt x="494" y="17"/>
                          </a:lnTo>
                          <a:lnTo>
                            <a:pt x="494" y="17"/>
                          </a:lnTo>
                          <a:lnTo>
                            <a:pt x="494" y="19"/>
                          </a:lnTo>
                          <a:lnTo>
                            <a:pt x="494" y="19"/>
                          </a:lnTo>
                          <a:lnTo>
                            <a:pt x="494" y="19"/>
                          </a:lnTo>
                          <a:lnTo>
                            <a:pt x="494" y="19"/>
                          </a:lnTo>
                          <a:lnTo>
                            <a:pt x="491" y="22"/>
                          </a:lnTo>
                          <a:lnTo>
                            <a:pt x="491" y="22"/>
                          </a:lnTo>
                          <a:lnTo>
                            <a:pt x="489" y="24"/>
                          </a:lnTo>
                          <a:lnTo>
                            <a:pt x="489" y="24"/>
                          </a:lnTo>
                          <a:lnTo>
                            <a:pt x="489" y="26"/>
                          </a:lnTo>
                          <a:lnTo>
                            <a:pt x="489" y="26"/>
                          </a:lnTo>
                          <a:lnTo>
                            <a:pt x="489" y="26"/>
                          </a:lnTo>
                          <a:lnTo>
                            <a:pt x="489" y="26"/>
                          </a:lnTo>
                          <a:lnTo>
                            <a:pt x="489" y="26"/>
                          </a:lnTo>
                          <a:lnTo>
                            <a:pt x="489" y="26"/>
                          </a:lnTo>
                          <a:lnTo>
                            <a:pt x="491" y="26"/>
                          </a:lnTo>
                          <a:lnTo>
                            <a:pt x="491" y="26"/>
                          </a:lnTo>
                          <a:lnTo>
                            <a:pt x="494" y="26"/>
                          </a:lnTo>
                          <a:lnTo>
                            <a:pt x="494" y="26"/>
                          </a:lnTo>
                          <a:lnTo>
                            <a:pt x="498" y="26"/>
                          </a:lnTo>
                          <a:lnTo>
                            <a:pt x="498" y="26"/>
                          </a:lnTo>
                          <a:lnTo>
                            <a:pt x="505" y="17"/>
                          </a:lnTo>
                          <a:lnTo>
                            <a:pt x="505" y="17"/>
                          </a:lnTo>
                          <a:lnTo>
                            <a:pt x="520" y="10"/>
                          </a:lnTo>
                          <a:lnTo>
                            <a:pt x="520" y="10"/>
                          </a:lnTo>
                          <a:lnTo>
                            <a:pt x="524" y="10"/>
                          </a:lnTo>
                          <a:lnTo>
                            <a:pt x="524" y="10"/>
                          </a:lnTo>
                          <a:lnTo>
                            <a:pt x="531" y="10"/>
                          </a:lnTo>
                          <a:lnTo>
                            <a:pt x="531" y="10"/>
                          </a:lnTo>
                          <a:lnTo>
                            <a:pt x="534" y="15"/>
                          </a:lnTo>
                          <a:lnTo>
                            <a:pt x="534" y="15"/>
                          </a:lnTo>
                          <a:lnTo>
                            <a:pt x="539" y="22"/>
                          </a:lnTo>
                          <a:lnTo>
                            <a:pt x="539" y="22"/>
                          </a:lnTo>
                          <a:lnTo>
                            <a:pt x="543" y="26"/>
                          </a:lnTo>
                          <a:lnTo>
                            <a:pt x="543" y="26"/>
                          </a:lnTo>
                          <a:lnTo>
                            <a:pt x="546" y="29"/>
                          </a:lnTo>
                          <a:lnTo>
                            <a:pt x="546" y="29"/>
                          </a:lnTo>
                          <a:lnTo>
                            <a:pt x="550" y="31"/>
                          </a:lnTo>
                          <a:lnTo>
                            <a:pt x="550" y="31"/>
                          </a:lnTo>
                          <a:lnTo>
                            <a:pt x="553" y="31"/>
                          </a:lnTo>
                          <a:lnTo>
                            <a:pt x="553" y="31"/>
                          </a:lnTo>
                          <a:lnTo>
                            <a:pt x="553" y="31"/>
                          </a:lnTo>
                          <a:lnTo>
                            <a:pt x="553" y="31"/>
                          </a:lnTo>
                          <a:lnTo>
                            <a:pt x="557" y="19"/>
                          </a:lnTo>
                          <a:lnTo>
                            <a:pt x="557" y="19"/>
                          </a:lnTo>
                          <a:lnTo>
                            <a:pt x="557" y="19"/>
                          </a:lnTo>
                          <a:lnTo>
                            <a:pt x="557" y="19"/>
                          </a:lnTo>
                          <a:lnTo>
                            <a:pt x="560" y="17"/>
                          </a:lnTo>
                          <a:lnTo>
                            <a:pt x="560" y="17"/>
                          </a:lnTo>
                          <a:lnTo>
                            <a:pt x="564" y="15"/>
                          </a:lnTo>
                          <a:lnTo>
                            <a:pt x="564" y="15"/>
                          </a:lnTo>
                          <a:lnTo>
                            <a:pt x="567" y="15"/>
                          </a:lnTo>
                          <a:lnTo>
                            <a:pt x="567" y="15"/>
                          </a:lnTo>
                          <a:lnTo>
                            <a:pt x="569" y="17"/>
                          </a:lnTo>
                          <a:lnTo>
                            <a:pt x="569" y="17"/>
                          </a:lnTo>
                          <a:lnTo>
                            <a:pt x="574" y="24"/>
                          </a:lnTo>
                          <a:lnTo>
                            <a:pt x="574" y="24"/>
                          </a:lnTo>
                          <a:lnTo>
                            <a:pt x="576" y="26"/>
                          </a:lnTo>
                          <a:lnTo>
                            <a:pt x="576" y="26"/>
                          </a:lnTo>
                          <a:lnTo>
                            <a:pt x="581" y="24"/>
                          </a:lnTo>
                          <a:lnTo>
                            <a:pt x="581" y="24"/>
                          </a:lnTo>
                          <a:lnTo>
                            <a:pt x="583" y="22"/>
                          </a:lnTo>
                          <a:lnTo>
                            <a:pt x="583" y="22"/>
                          </a:lnTo>
                          <a:lnTo>
                            <a:pt x="588" y="22"/>
                          </a:lnTo>
                          <a:lnTo>
                            <a:pt x="588" y="22"/>
                          </a:lnTo>
                          <a:lnTo>
                            <a:pt x="595" y="19"/>
                          </a:lnTo>
                          <a:lnTo>
                            <a:pt x="595" y="19"/>
                          </a:lnTo>
                          <a:lnTo>
                            <a:pt x="607" y="17"/>
                          </a:lnTo>
                          <a:lnTo>
                            <a:pt x="607" y="17"/>
                          </a:lnTo>
                          <a:lnTo>
                            <a:pt x="609" y="17"/>
                          </a:lnTo>
                          <a:lnTo>
                            <a:pt x="609" y="17"/>
                          </a:lnTo>
                          <a:lnTo>
                            <a:pt x="614" y="19"/>
                          </a:lnTo>
                          <a:lnTo>
                            <a:pt x="614" y="19"/>
                          </a:lnTo>
                          <a:lnTo>
                            <a:pt x="624" y="19"/>
                          </a:lnTo>
                          <a:lnTo>
                            <a:pt x="624" y="19"/>
                          </a:lnTo>
                          <a:lnTo>
                            <a:pt x="638" y="38"/>
                          </a:lnTo>
                          <a:lnTo>
                            <a:pt x="638" y="38"/>
                          </a:lnTo>
                          <a:lnTo>
                            <a:pt x="652" y="45"/>
                          </a:lnTo>
                          <a:lnTo>
                            <a:pt x="652" y="45"/>
                          </a:lnTo>
                          <a:lnTo>
                            <a:pt x="657" y="45"/>
                          </a:lnTo>
                          <a:lnTo>
                            <a:pt x="657" y="45"/>
                          </a:lnTo>
                          <a:lnTo>
                            <a:pt x="659" y="48"/>
                          </a:lnTo>
                          <a:lnTo>
                            <a:pt x="659" y="48"/>
                          </a:lnTo>
                          <a:lnTo>
                            <a:pt x="661" y="45"/>
                          </a:lnTo>
                          <a:lnTo>
                            <a:pt x="661" y="45"/>
                          </a:lnTo>
                          <a:lnTo>
                            <a:pt x="664" y="45"/>
                          </a:lnTo>
                          <a:lnTo>
                            <a:pt x="664" y="45"/>
                          </a:lnTo>
                          <a:lnTo>
                            <a:pt x="666" y="48"/>
                          </a:lnTo>
                          <a:lnTo>
                            <a:pt x="666" y="48"/>
                          </a:lnTo>
                          <a:lnTo>
                            <a:pt x="668" y="50"/>
                          </a:lnTo>
                          <a:lnTo>
                            <a:pt x="668" y="50"/>
                          </a:lnTo>
                          <a:lnTo>
                            <a:pt x="673" y="52"/>
                          </a:lnTo>
                          <a:lnTo>
                            <a:pt x="673" y="52"/>
                          </a:lnTo>
                          <a:lnTo>
                            <a:pt x="673" y="52"/>
                          </a:lnTo>
                          <a:lnTo>
                            <a:pt x="673" y="52"/>
                          </a:lnTo>
                          <a:lnTo>
                            <a:pt x="676" y="55"/>
                          </a:lnTo>
                          <a:lnTo>
                            <a:pt x="676" y="55"/>
                          </a:lnTo>
                          <a:lnTo>
                            <a:pt x="680" y="52"/>
                          </a:lnTo>
                          <a:lnTo>
                            <a:pt x="680" y="52"/>
                          </a:lnTo>
                          <a:lnTo>
                            <a:pt x="692" y="48"/>
                          </a:lnTo>
                          <a:lnTo>
                            <a:pt x="692" y="48"/>
                          </a:lnTo>
                          <a:lnTo>
                            <a:pt x="692" y="48"/>
                          </a:lnTo>
                          <a:lnTo>
                            <a:pt x="692" y="48"/>
                          </a:lnTo>
                          <a:lnTo>
                            <a:pt x="692" y="48"/>
                          </a:lnTo>
                          <a:lnTo>
                            <a:pt x="692" y="48"/>
                          </a:lnTo>
                          <a:lnTo>
                            <a:pt x="699" y="45"/>
                          </a:lnTo>
                          <a:lnTo>
                            <a:pt x="699" y="45"/>
                          </a:lnTo>
                          <a:lnTo>
                            <a:pt x="711" y="48"/>
                          </a:lnTo>
                          <a:lnTo>
                            <a:pt x="711" y="48"/>
                          </a:lnTo>
                          <a:lnTo>
                            <a:pt x="713" y="48"/>
                          </a:lnTo>
                          <a:lnTo>
                            <a:pt x="713" y="48"/>
                          </a:lnTo>
                          <a:lnTo>
                            <a:pt x="716" y="59"/>
                          </a:lnTo>
                          <a:lnTo>
                            <a:pt x="716" y="59"/>
                          </a:lnTo>
                          <a:lnTo>
                            <a:pt x="720" y="62"/>
                          </a:lnTo>
                          <a:lnTo>
                            <a:pt x="720" y="62"/>
                          </a:lnTo>
                          <a:lnTo>
                            <a:pt x="730" y="67"/>
                          </a:lnTo>
                          <a:lnTo>
                            <a:pt x="730" y="67"/>
                          </a:lnTo>
                          <a:lnTo>
                            <a:pt x="730" y="64"/>
                          </a:lnTo>
                          <a:lnTo>
                            <a:pt x="730" y="64"/>
                          </a:lnTo>
                          <a:lnTo>
                            <a:pt x="732" y="62"/>
                          </a:lnTo>
                          <a:lnTo>
                            <a:pt x="732" y="62"/>
                          </a:lnTo>
                          <a:lnTo>
                            <a:pt x="732" y="57"/>
                          </a:lnTo>
                          <a:lnTo>
                            <a:pt x="732" y="57"/>
                          </a:lnTo>
                          <a:lnTo>
                            <a:pt x="737" y="59"/>
                          </a:lnTo>
                          <a:lnTo>
                            <a:pt x="737" y="59"/>
                          </a:lnTo>
                          <a:lnTo>
                            <a:pt x="742" y="57"/>
                          </a:lnTo>
                          <a:lnTo>
                            <a:pt x="742" y="57"/>
                          </a:lnTo>
                          <a:lnTo>
                            <a:pt x="744" y="55"/>
                          </a:lnTo>
                          <a:lnTo>
                            <a:pt x="744" y="55"/>
                          </a:lnTo>
                          <a:lnTo>
                            <a:pt x="744" y="55"/>
                          </a:lnTo>
                          <a:lnTo>
                            <a:pt x="744" y="55"/>
                          </a:lnTo>
                          <a:lnTo>
                            <a:pt x="746" y="57"/>
                          </a:lnTo>
                          <a:lnTo>
                            <a:pt x="746" y="57"/>
                          </a:lnTo>
                          <a:lnTo>
                            <a:pt x="744" y="59"/>
                          </a:lnTo>
                          <a:lnTo>
                            <a:pt x="744" y="59"/>
                          </a:lnTo>
                          <a:lnTo>
                            <a:pt x="742" y="59"/>
                          </a:lnTo>
                          <a:lnTo>
                            <a:pt x="742" y="59"/>
                          </a:lnTo>
                          <a:lnTo>
                            <a:pt x="742" y="62"/>
                          </a:lnTo>
                          <a:lnTo>
                            <a:pt x="742" y="62"/>
                          </a:lnTo>
                          <a:lnTo>
                            <a:pt x="735" y="59"/>
                          </a:lnTo>
                          <a:lnTo>
                            <a:pt x="735" y="59"/>
                          </a:lnTo>
                          <a:lnTo>
                            <a:pt x="735" y="62"/>
                          </a:lnTo>
                          <a:lnTo>
                            <a:pt x="735" y="62"/>
                          </a:lnTo>
                          <a:lnTo>
                            <a:pt x="732" y="67"/>
                          </a:lnTo>
                          <a:lnTo>
                            <a:pt x="732" y="67"/>
                          </a:lnTo>
                          <a:lnTo>
                            <a:pt x="735" y="74"/>
                          </a:lnTo>
                          <a:lnTo>
                            <a:pt x="735" y="74"/>
                          </a:lnTo>
                          <a:lnTo>
                            <a:pt x="735" y="74"/>
                          </a:lnTo>
                          <a:lnTo>
                            <a:pt x="735" y="74"/>
                          </a:lnTo>
                          <a:lnTo>
                            <a:pt x="737" y="74"/>
                          </a:lnTo>
                          <a:lnTo>
                            <a:pt x="737" y="74"/>
                          </a:lnTo>
                          <a:lnTo>
                            <a:pt x="742" y="74"/>
                          </a:lnTo>
                          <a:lnTo>
                            <a:pt x="742" y="74"/>
                          </a:lnTo>
                          <a:lnTo>
                            <a:pt x="746" y="74"/>
                          </a:lnTo>
                          <a:lnTo>
                            <a:pt x="746" y="74"/>
                          </a:lnTo>
                          <a:lnTo>
                            <a:pt x="756" y="81"/>
                          </a:lnTo>
                          <a:lnTo>
                            <a:pt x="756" y="81"/>
                          </a:lnTo>
                          <a:lnTo>
                            <a:pt x="756" y="83"/>
                          </a:lnTo>
                          <a:lnTo>
                            <a:pt x="756" y="83"/>
                          </a:lnTo>
                          <a:lnTo>
                            <a:pt x="758" y="83"/>
                          </a:lnTo>
                          <a:lnTo>
                            <a:pt x="758" y="83"/>
                          </a:lnTo>
                          <a:lnTo>
                            <a:pt x="761" y="78"/>
                          </a:lnTo>
                          <a:lnTo>
                            <a:pt x="761" y="78"/>
                          </a:lnTo>
                          <a:lnTo>
                            <a:pt x="765" y="81"/>
                          </a:lnTo>
                          <a:lnTo>
                            <a:pt x="765" y="81"/>
                          </a:lnTo>
                          <a:lnTo>
                            <a:pt x="768" y="85"/>
                          </a:lnTo>
                          <a:lnTo>
                            <a:pt x="768" y="85"/>
                          </a:lnTo>
                          <a:lnTo>
                            <a:pt x="768" y="90"/>
                          </a:lnTo>
                          <a:lnTo>
                            <a:pt x="768" y="90"/>
                          </a:lnTo>
                          <a:lnTo>
                            <a:pt x="770" y="97"/>
                          </a:lnTo>
                          <a:lnTo>
                            <a:pt x="770" y="97"/>
                          </a:lnTo>
                          <a:lnTo>
                            <a:pt x="770" y="100"/>
                          </a:lnTo>
                          <a:lnTo>
                            <a:pt x="770" y="100"/>
                          </a:lnTo>
                          <a:lnTo>
                            <a:pt x="779" y="114"/>
                          </a:lnTo>
                          <a:lnTo>
                            <a:pt x="779" y="114"/>
                          </a:lnTo>
                          <a:lnTo>
                            <a:pt x="782" y="121"/>
                          </a:lnTo>
                          <a:lnTo>
                            <a:pt x="782" y="121"/>
                          </a:lnTo>
                          <a:lnTo>
                            <a:pt x="787" y="123"/>
                          </a:lnTo>
                          <a:lnTo>
                            <a:pt x="787" y="123"/>
                          </a:lnTo>
                          <a:lnTo>
                            <a:pt x="787" y="126"/>
                          </a:lnTo>
                          <a:lnTo>
                            <a:pt x="787" y="126"/>
                          </a:lnTo>
                          <a:lnTo>
                            <a:pt x="789" y="126"/>
                          </a:lnTo>
                          <a:lnTo>
                            <a:pt x="789" y="126"/>
                          </a:lnTo>
                          <a:lnTo>
                            <a:pt x="789" y="126"/>
                          </a:lnTo>
                          <a:lnTo>
                            <a:pt x="789" y="126"/>
                          </a:lnTo>
                          <a:lnTo>
                            <a:pt x="789" y="123"/>
                          </a:lnTo>
                          <a:lnTo>
                            <a:pt x="789" y="123"/>
                          </a:lnTo>
                          <a:lnTo>
                            <a:pt x="791" y="123"/>
                          </a:lnTo>
                          <a:lnTo>
                            <a:pt x="791" y="123"/>
                          </a:lnTo>
                          <a:lnTo>
                            <a:pt x="794" y="126"/>
                          </a:lnTo>
                          <a:lnTo>
                            <a:pt x="794" y="126"/>
                          </a:lnTo>
                          <a:lnTo>
                            <a:pt x="796" y="130"/>
                          </a:lnTo>
                          <a:lnTo>
                            <a:pt x="796" y="130"/>
                          </a:lnTo>
                          <a:lnTo>
                            <a:pt x="798" y="135"/>
                          </a:lnTo>
                          <a:lnTo>
                            <a:pt x="798" y="135"/>
                          </a:lnTo>
                          <a:lnTo>
                            <a:pt x="805" y="144"/>
                          </a:lnTo>
                          <a:lnTo>
                            <a:pt x="805" y="144"/>
                          </a:lnTo>
                          <a:lnTo>
                            <a:pt x="808" y="147"/>
                          </a:lnTo>
                          <a:lnTo>
                            <a:pt x="808" y="147"/>
                          </a:lnTo>
                          <a:lnTo>
                            <a:pt x="820" y="152"/>
                          </a:lnTo>
                          <a:lnTo>
                            <a:pt x="820" y="152"/>
                          </a:lnTo>
                          <a:lnTo>
                            <a:pt x="836" y="154"/>
                          </a:lnTo>
                          <a:lnTo>
                            <a:pt x="836" y="154"/>
                          </a:lnTo>
                          <a:lnTo>
                            <a:pt x="848" y="152"/>
                          </a:lnTo>
                          <a:lnTo>
                            <a:pt x="848" y="152"/>
                          </a:lnTo>
                          <a:lnTo>
                            <a:pt x="850" y="152"/>
                          </a:lnTo>
                          <a:lnTo>
                            <a:pt x="850" y="152"/>
                          </a:lnTo>
                          <a:lnTo>
                            <a:pt x="853" y="149"/>
                          </a:lnTo>
                          <a:lnTo>
                            <a:pt x="853" y="149"/>
                          </a:lnTo>
                          <a:lnTo>
                            <a:pt x="872" y="149"/>
                          </a:lnTo>
                          <a:lnTo>
                            <a:pt x="872" y="149"/>
                          </a:lnTo>
                          <a:lnTo>
                            <a:pt x="879" y="152"/>
                          </a:lnTo>
                          <a:lnTo>
                            <a:pt x="879" y="152"/>
                          </a:lnTo>
                          <a:lnTo>
                            <a:pt x="881" y="152"/>
                          </a:lnTo>
                          <a:lnTo>
                            <a:pt x="881" y="152"/>
                          </a:lnTo>
                          <a:lnTo>
                            <a:pt x="883" y="152"/>
                          </a:lnTo>
                          <a:lnTo>
                            <a:pt x="883" y="152"/>
                          </a:lnTo>
                          <a:lnTo>
                            <a:pt x="886" y="152"/>
                          </a:lnTo>
                          <a:lnTo>
                            <a:pt x="886" y="152"/>
                          </a:lnTo>
                          <a:lnTo>
                            <a:pt x="888" y="152"/>
                          </a:lnTo>
                          <a:lnTo>
                            <a:pt x="888" y="152"/>
                          </a:lnTo>
                          <a:lnTo>
                            <a:pt x="888" y="149"/>
                          </a:lnTo>
                          <a:lnTo>
                            <a:pt x="888" y="149"/>
                          </a:lnTo>
                          <a:lnTo>
                            <a:pt x="890" y="152"/>
                          </a:lnTo>
                          <a:lnTo>
                            <a:pt x="890" y="152"/>
                          </a:lnTo>
                          <a:lnTo>
                            <a:pt x="890" y="152"/>
                          </a:lnTo>
                          <a:lnTo>
                            <a:pt x="890" y="152"/>
                          </a:lnTo>
                          <a:lnTo>
                            <a:pt x="893" y="154"/>
                          </a:lnTo>
                          <a:lnTo>
                            <a:pt x="893" y="154"/>
                          </a:lnTo>
                          <a:lnTo>
                            <a:pt x="893" y="156"/>
                          </a:lnTo>
                          <a:lnTo>
                            <a:pt x="893" y="156"/>
                          </a:lnTo>
                          <a:lnTo>
                            <a:pt x="890" y="161"/>
                          </a:lnTo>
                          <a:lnTo>
                            <a:pt x="890" y="161"/>
                          </a:lnTo>
                          <a:lnTo>
                            <a:pt x="893" y="163"/>
                          </a:lnTo>
                          <a:lnTo>
                            <a:pt x="893" y="163"/>
                          </a:lnTo>
                          <a:lnTo>
                            <a:pt x="895" y="166"/>
                          </a:lnTo>
                          <a:lnTo>
                            <a:pt x="895" y="166"/>
                          </a:lnTo>
                          <a:lnTo>
                            <a:pt x="898" y="166"/>
                          </a:lnTo>
                          <a:lnTo>
                            <a:pt x="898" y="166"/>
                          </a:lnTo>
                          <a:lnTo>
                            <a:pt x="900" y="166"/>
                          </a:lnTo>
                          <a:lnTo>
                            <a:pt x="900" y="166"/>
                          </a:lnTo>
                          <a:lnTo>
                            <a:pt x="900" y="166"/>
                          </a:lnTo>
                          <a:lnTo>
                            <a:pt x="900" y="166"/>
                          </a:lnTo>
                          <a:lnTo>
                            <a:pt x="902" y="159"/>
                          </a:lnTo>
                          <a:lnTo>
                            <a:pt x="902" y="159"/>
                          </a:lnTo>
                          <a:lnTo>
                            <a:pt x="900" y="154"/>
                          </a:lnTo>
                          <a:lnTo>
                            <a:pt x="900" y="154"/>
                          </a:lnTo>
                          <a:lnTo>
                            <a:pt x="898" y="154"/>
                          </a:lnTo>
                          <a:lnTo>
                            <a:pt x="898" y="154"/>
                          </a:lnTo>
                          <a:lnTo>
                            <a:pt x="898" y="154"/>
                          </a:lnTo>
                          <a:lnTo>
                            <a:pt x="898" y="154"/>
                          </a:lnTo>
                          <a:lnTo>
                            <a:pt x="895" y="154"/>
                          </a:lnTo>
                          <a:lnTo>
                            <a:pt x="895" y="154"/>
                          </a:lnTo>
                          <a:lnTo>
                            <a:pt x="895" y="154"/>
                          </a:lnTo>
                          <a:lnTo>
                            <a:pt x="895" y="154"/>
                          </a:lnTo>
                          <a:lnTo>
                            <a:pt x="895" y="154"/>
                          </a:lnTo>
                          <a:lnTo>
                            <a:pt x="895" y="154"/>
                          </a:lnTo>
                          <a:lnTo>
                            <a:pt x="898" y="152"/>
                          </a:lnTo>
                          <a:lnTo>
                            <a:pt x="898" y="152"/>
                          </a:lnTo>
                          <a:lnTo>
                            <a:pt x="900" y="152"/>
                          </a:lnTo>
                          <a:lnTo>
                            <a:pt x="900" y="152"/>
                          </a:lnTo>
                          <a:lnTo>
                            <a:pt x="902" y="152"/>
                          </a:lnTo>
                          <a:lnTo>
                            <a:pt x="902" y="152"/>
                          </a:lnTo>
                          <a:lnTo>
                            <a:pt x="902" y="154"/>
                          </a:lnTo>
                          <a:lnTo>
                            <a:pt x="902" y="154"/>
                          </a:lnTo>
                          <a:lnTo>
                            <a:pt x="907" y="156"/>
                          </a:lnTo>
                          <a:lnTo>
                            <a:pt x="907" y="156"/>
                          </a:lnTo>
                          <a:lnTo>
                            <a:pt x="912" y="163"/>
                          </a:lnTo>
                          <a:lnTo>
                            <a:pt x="912" y="163"/>
                          </a:lnTo>
                          <a:lnTo>
                            <a:pt x="919" y="163"/>
                          </a:lnTo>
                          <a:lnTo>
                            <a:pt x="919" y="163"/>
                          </a:lnTo>
                          <a:lnTo>
                            <a:pt x="924" y="166"/>
                          </a:lnTo>
                          <a:lnTo>
                            <a:pt x="924" y="166"/>
                          </a:lnTo>
                          <a:lnTo>
                            <a:pt x="926" y="170"/>
                          </a:lnTo>
                          <a:lnTo>
                            <a:pt x="926" y="170"/>
                          </a:lnTo>
                          <a:lnTo>
                            <a:pt x="931" y="175"/>
                          </a:lnTo>
                          <a:lnTo>
                            <a:pt x="931" y="175"/>
                          </a:lnTo>
                          <a:lnTo>
                            <a:pt x="940" y="178"/>
                          </a:lnTo>
                          <a:lnTo>
                            <a:pt x="940" y="178"/>
                          </a:lnTo>
                          <a:lnTo>
                            <a:pt x="945" y="178"/>
                          </a:lnTo>
                          <a:lnTo>
                            <a:pt x="945" y="178"/>
                          </a:lnTo>
                          <a:lnTo>
                            <a:pt x="947" y="180"/>
                          </a:lnTo>
                          <a:lnTo>
                            <a:pt x="947" y="180"/>
                          </a:lnTo>
                          <a:lnTo>
                            <a:pt x="952" y="182"/>
                          </a:lnTo>
                          <a:lnTo>
                            <a:pt x="952" y="182"/>
                          </a:lnTo>
                          <a:lnTo>
                            <a:pt x="952" y="185"/>
                          </a:lnTo>
                          <a:lnTo>
                            <a:pt x="952" y="185"/>
                          </a:lnTo>
                          <a:lnTo>
                            <a:pt x="954" y="189"/>
                          </a:lnTo>
                          <a:lnTo>
                            <a:pt x="954" y="189"/>
                          </a:lnTo>
                          <a:lnTo>
                            <a:pt x="954" y="192"/>
                          </a:lnTo>
                          <a:lnTo>
                            <a:pt x="954" y="192"/>
                          </a:lnTo>
                          <a:lnTo>
                            <a:pt x="959" y="196"/>
                          </a:lnTo>
                          <a:lnTo>
                            <a:pt x="959" y="196"/>
                          </a:lnTo>
                          <a:lnTo>
                            <a:pt x="971" y="201"/>
                          </a:lnTo>
                          <a:lnTo>
                            <a:pt x="971" y="201"/>
                          </a:lnTo>
                          <a:lnTo>
                            <a:pt x="973" y="201"/>
                          </a:lnTo>
                          <a:lnTo>
                            <a:pt x="973" y="201"/>
                          </a:lnTo>
                          <a:lnTo>
                            <a:pt x="976" y="201"/>
                          </a:lnTo>
                          <a:lnTo>
                            <a:pt x="976" y="201"/>
                          </a:lnTo>
                          <a:lnTo>
                            <a:pt x="994" y="211"/>
                          </a:lnTo>
                          <a:lnTo>
                            <a:pt x="994" y="211"/>
                          </a:lnTo>
                          <a:lnTo>
                            <a:pt x="999" y="220"/>
                          </a:lnTo>
                          <a:lnTo>
                            <a:pt x="999" y="220"/>
                          </a:lnTo>
                          <a:lnTo>
                            <a:pt x="1004" y="230"/>
                          </a:lnTo>
                          <a:lnTo>
                            <a:pt x="1004" y="230"/>
                          </a:lnTo>
                          <a:lnTo>
                            <a:pt x="1006" y="232"/>
                          </a:lnTo>
                          <a:lnTo>
                            <a:pt x="1006" y="232"/>
                          </a:lnTo>
                          <a:lnTo>
                            <a:pt x="1009" y="232"/>
                          </a:lnTo>
                          <a:lnTo>
                            <a:pt x="1009" y="232"/>
                          </a:lnTo>
                          <a:lnTo>
                            <a:pt x="1011" y="234"/>
                          </a:lnTo>
                          <a:lnTo>
                            <a:pt x="1011" y="234"/>
                          </a:lnTo>
                          <a:lnTo>
                            <a:pt x="1013" y="241"/>
                          </a:lnTo>
                          <a:lnTo>
                            <a:pt x="1013" y="241"/>
                          </a:lnTo>
                          <a:lnTo>
                            <a:pt x="1018" y="251"/>
                          </a:lnTo>
                          <a:lnTo>
                            <a:pt x="1018" y="251"/>
                          </a:lnTo>
                          <a:lnTo>
                            <a:pt x="1018" y="251"/>
                          </a:lnTo>
                          <a:lnTo>
                            <a:pt x="1018" y="251"/>
                          </a:lnTo>
                          <a:lnTo>
                            <a:pt x="1020" y="251"/>
                          </a:lnTo>
                          <a:lnTo>
                            <a:pt x="1020" y="251"/>
                          </a:lnTo>
                          <a:lnTo>
                            <a:pt x="1023" y="248"/>
                          </a:lnTo>
                          <a:lnTo>
                            <a:pt x="1023" y="248"/>
                          </a:lnTo>
                          <a:lnTo>
                            <a:pt x="1023" y="241"/>
                          </a:lnTo>
                          <a:lnTo>
                            <a:pt x="1023" y="241"/>
                          </a:lnTo>
                          <a:lnTo>
                            <a:pt x="1023" y="237"/>
                          </a:lnTo>
                          <a:lnTo>
                            <a:pt x="1023" y="237"/>
                          </a:lnTo>
                          <a:lnTo>
                            <a:pt x="1023" y="230"/>
                          </a:lnTo>
                          <a:lnTo>
                            <a:pt x="1023" y="230"/>
                          </a:lnTo>
                          <a:lnTo>
                            <a:pt x="1023" y="230"/>
                          </a:lnTo>
                          <a:lnTo>
                            <a:pt x="1023" y="230"/>
                          </a:lnTo>
                          <a:lnTo>
                            <a:pt x="1027" y="230"/>
                          </a:lnTo>
                          <a:lnTo>
                            <a:pt x="1027" y="230"/>
                          </a:lnTo>
                          <a:lnTo>
                            <a:pt x="1027" y="230"/>
                          </a:lnTo>
                          <a:lnTo>
                            <a:pt x="1027" y="230"/>
                          </a:lnTo>
                          <a:lnTo>
                            <a:pt x="1027" y="232"/>
                          </a:lnTo>
                          <a:lnTo>
                            <a:pt x="1027" y="232"/>
                          </a:lnTo>
                          <a:lnTo>
                            <a:pt x="1027" y="232"/>
                          </a:lnTo>
                          <a:lnTo>
                            <a:pt x="1027" y="232"/>
                          </a:lnTo>
                          <a:lnTo>
                            <a:pt x="1027" y="232"/>
                          </a:lnTo>
                          <a:lnTo>
                            <a:pt x="1027" y="232"/>
                          </a:lnTo>
                          <a:lnTo>
                            <a:pt x="1030" y="232"/>
                          </a:lnTo>
                          <a:lnTo>
                            <a:pt x="1030" y="232"/>
                          </a:lnTo>
                          <a:lnTo>
                            <a:pt x="1030" y="232"/>
                          </a:lnTo>
                          <a:lnTo>
                            <a:pt x="1030" y="232"/>
                          </a:lnTo>
                          <a:lnTo>
                            <a:pt x="1030" y="222"/>
                          </a:lnTo>
                          <a:lnTo>
                            <a:pt x="1030" y="222"/>
                          </a:lnTo>
                          <a:lnTo>
                            <a:pt x="1030" y="220"/>
                          </a:lnTo>
                          <a:lnTo>
                            <a:pt x="1030" y="220"/>
                          </a:lnTo>
                          <a:lnTo>
                            <a:pt x="1027" y="218"/>
                          </a:lnTo>
                          <a:lnTo>
                            <a:pt x="1027" y="218"/>
                          </a:lnTo>
                          <a:lnTo>
                            <a:pt x="1025" y="218"/>
                          </a:lnTo>
                          <a:lnTo>
                            <a:pt x="1025" y="218"/>
                          </a:lnTo>
                          <a:lnTo>
                            <a:pt x="1025" y="220"/>
                          </a:lnTo>
                          <a:lnTo>
                            <a:pt x="1025" y="220"/>
                          </a:lnTo>
                          <a:lnTo>
                            <a:pt x="1023" y="220"/>
                          </a:lnTo>
                          <a:lnTo>
                            <a:pt x="1023" y="220"/>
                          </a:lnTo>
                          <a:lnTo>
                            <a:pt x="1025" y="222"/>
                          </a:lnTo>
                          <a:lnTo>
                            <a:pt x="1025" y="222"/>
                          </a:lnTo>
                          <a:lnTo>
                            <a:pt x="1023" y="222"/>
                          </a:lnTo>
                          <a:lnTo>
                            <a:pt x="1023" y="222"/>
                          </a:lnTo>
                          <a:lnTo>
                            <a:pt x="1018" y="222"/>
                          </a:lnTo>
                          <a:lnTo>
                            <a:pt x="1018" y="222"/>
                          </a:lnTo>
                          <a:lnTo>
                            <a:pt x="1011" y="215"/>
                          </a:lnTo>
                          <a:lnTo>
                            <a:pt x="1011" y="215"/>
                          </a:lnTo>
                          <a:lnTo>
                            <a:pt x="1009" y="211"/>
                          </a:lnTo>
                          <a:lnTo>
                            <a:pt x="1009" y="211"/>
                          </a:lnTo>
                          <a:lnTo>
                            <a:pt x="1011" y="206"/>
                          </a:lnTo>
                          <a:lnTo>
                            <a:pt x="1011" y="206"/>
                          </a:lnTo>
                          <a:lnTo>
                            <a:pt x="1013" y="206"/>
                          </a:lnTo>
                          <a:lnTo>
                            <a:pt x="1013" y="206"/>
                          </a:lnTo>
                          <a:lnTo>
                            <a:pt x="1023" y="211"/>
                          </a:lnTo>
                          <a:lnTo>
                            <a:pt x="1023" y="211"/>
                          </a:lnTo>
                          <a:lnTo>
                            <a:pt x="1025" y="208"/>
                          </a:lnTo>
                          <a:lnTo>
                            <a:pt x="1025" y="208"/>
                          </a:lnTo>
                          <a:lnTo>
                            <a:pt x="1032" y="206"/>
                          </a:lnTo>
                          <a:lnTo>
                            <a:pt x="1032" y="206"/>
                          </a:lnTo>
                          <a:lnTo>
                            <a:pt x="1032" y="206"/>
                          </a:lnTo>
                          <a:lnTo>
                            <a:pt x="1032" y="206"/>
                          </a:lnTo>
                          <a:lnTo>
                            <a:pt x="1035" y="206"/>
                          </a:lnTo>
                          <a:lnTo>
                            <a:pt x="1035" y="206"/>
                          </a:lnTo>
                          <a:lnTo>
                            <a:pt x="1035" y="206"/>
                          </a:lnTo>
                          <a:lnTo>
                            <a:pt x="1035" y="206"/>
                          </a:lnTo>
                          <a:lnTo>
                            <a:pt x="1037" y="211"/>
                          </a:lnTo>
                          <a:lnTo>
                            <a:pt x="1037" y="211"/>
                          </a:lnTo>
                          <a:lnTo>
                            <a:pt x="1039" y="213"/>
                          </a:lnTo>
                          <a:lnTo>
                            <a:pt x="1039" y="213"/>
                          </a:lnTo>
                          <a:lnTo>
                            <a:pt x="1049" y="215"/>
                          </a:lnTo>
                          <a:lnTo>
                            <a:pt x="1049" y="215"/>
                          </a:lnTo>
                          <a:lnTo>
                            <a:pt x="1049" y="213"/>
                          </a:lnTo>
                          <a:lnTo>
                            <a:pt x="1049" y="213"/>
                          </a:lnTo>
                          <a:lnTo>
                            <a:pt x="1049" y="213"/>
                          </a:lnTo>
                          <a:lnTo>
                            <a:pt x="1049" y="213"/>
                          </a:lnTo>
                          <a:lnTo>
                            <a:pt x="1051" y="213"/>
                          </a:lnTo>
                          <a:lnTo>
                            <a:pt x="1051" y="213"/>
                          </a:lnTo>
                          <a:lnTo>
                            <a:pt x="1051" y="213"/>
                          </a:lnTo>
                          <a:lnTo>
                            <a:pt x="1051" y="213"/>
                          </a:lnTo>
                          <a:lnTo>
                            <a:pt x="1053" y="213"/>
                          </a:lnTo>
                          <a:lnTo>
                            <a:pt x="1053" y="213"/>
                          </a:lnTo>
                          <a:lnTo>
                            <a:pt x="1056" y="215"/>
                          </a:lnTo>
                          <a:lnTo>
                            <a:pt x="1056" y="215"/>
                          </a:lnTo>
                          <a:lnTo>
                            <a:pt x="1056" y="218"/>
                          </a:lnTo>
                          <a:lnTo>
                            <a:pt x="1056" y="218"/>
                          </a:lnTo>
                          <a:lnTo>
                            <a:pt x="1058" y="222"/>
                          </a:lnTo>
                          <a:lnTo>
                            <a:pt x="1058" y="222"/>
                          </a:lnTo>
                          <a:lnTo>
                            <a:pt x="1053" y="234"/>
                          </a:lnTo>
                          <a:lnTo>
                            <a:pt x="1053" y="234"/>
                          </a:lnTo>
                          <a:lnTo>
                            <a:pt x="1049" y="244"/>
                          </a:lnTo>
                          <a:lnTo>
                            <a:pt x="1049" y="244"/>
                          </a:lnTo>
                          <a:lnTo>
                            <a:pt x="1046" y="244"/>
                          </a:lnTo>
                          <a:lnTo>
                            <a:pt x="1046" y="244"/>
                          </a:lnTo>
                          <a:lnTo>
                            <a:pt x="1044" y="241"/>
                          </a:lnTo>
                          <a:lnTo>
                            <a:pt x="1044" y="241"/>
                          </a:lnTo>
                          <a:lnTo>
                            <a:pt x="1044" y="239"/>
                          </a:lnTo>
                          <a:lnTo>
                            <a:pt x="1044" y="239"/>
                          </a:lnTo>
                          <a:lnTo>
                            <a:pt x="1042" y="237"/>
                          </a:lnTo>
                          <a:lnTo>
                            <a:pt x="1042" y="237"/>
                          </a:lnTo>
                          <a:lnTo>
                            <a:pt x="1042" y="234"/>
                          </a:lnTo>
                          <a:lnTo>
                            <a:pt x="1042" y="234"/>
                          </a:lnTo>
                          <a:lnTo>
                            <a:pt x="1039" y="232"/>
                          </a:lnTo>
                          <a:lnTo>
                            <a:pt x="1039" y="232"/>
                          </a:lnTo>
                          <a:lnTo>
                            <a:pt x="1035" y="232"/>
                          </a:lnTo>
                          <a:lnTo>
                            <a:pt x="1035" y="232"/>
                          </a:lnTo>
                          <a:lnTo>
                            <a:pt x="1032" y="232"/>
                          </a:lnTo>
                          <a:lnTo>
                            <a:pt x="1032" y="232"/>
                          </a:lnTo>
                          <a:lnTo>
                            <a:pt x="1025" y="237"/>
                          </a:lnTo>
                          <a:lnTo>
                            <a:pt x="1025" y="237"/>
                          </a:lnTo>
                          <a:lnTo>
                            <a:pt x="1025" y="239"/>
                          </a:lnTo>
                          <a:lnTo>
                            <a:pt x="1025" y="239"/>
                          </a:lnTo>
                          <a:lnTo>
                            <a:pt x="1025" y="241"/>
                          </a:lnTo>
                          <a:lnTo>
                            <a:pt x="1025" y="241"/>
                          </a:lnTo>
                          <a:lnTo>
                            <a:pt x="1025" y="241"/>
                          </a:lnTo>
                          <a:lnTo>
                            <a:pt x="1025" y="241"/>
                          </a:lnTo>
                          <a:lnTo>
                            <a:pt x="1030" y="248"/>
                          </a:lnTo>
                          <a:lnTo>
                            <a:pt x="1030" y="248"/>
                          </a:lnTo>
                          <a:lnTo>
                            <a:pt x="1030" y="248"/>
                          </a:lnTo>
                          <a:lnTo>
                            <a:pt x="1030" y="248"/>
                          </a:lnTo>
                          <a:lnTo>
                            <a:pt x="1035" y="251"/>
                          </a:lnTo>
                          <a:lnTo>
                            <a:pt x="1035" y="251"/>
                          </a:lnTo>
                          <a:lnTo>
                            <a:pt x="1039" y="263"/>
                          </a:lnTo>
                          <a:lnTo>
                            <a:pt x="1039" y="263"/>
                          </a:lnTo>
                          <a:lnTo>
                            <a:pt x="1039" y="263"/>
                          </a:lnTo>
                          <a:lnTo>
                            <a:pt x="1039" y="263"/>
                          </a:lnTo>
                          <a:lnTo>
                            <a:pt x="1051" y="267"/>
                          </a:lnTo>
                          <a:lnTo>
                            <a:pt x="1051" y="267"/>
                          </a:lnTo>
                          <a:lnTo>
                            <a:pt x="1053" y="267"/>
                          </a:lnTo>
                          <a:lnTo>
                            <a:pt x="1053" y="267"/>
                          </a:lnTo>
                          <a:lnTo>
                            <a:pt x="1056" y="267"/>
                          </a:lnTo>
                          <a:lnTo>
                            <a:pt x="1056" y="267"/>
                          </a:lnTo>
                          <a:lnTo>
                            <a:pt x="1061" y="267"/>
                          </a:lnTo>
                          <a:lnTo>
                            <a:pt x="1061" y="267"/>
                          </a:lnTo>
                          <a:lnTo>
                            <a:pt x="1063" y="267"/>
                          </a:lnTo>
                          <a:lnTo>
                            <a:pt x="1063" y="267"/>
                          </a:lnTo>
                          <a:lnTo>
                            <a:pt x="1065" y="267"/>
                          </a:lnTo>
                          <a:lnTo>
                            <a:pt x="1065" y="267"/>
                          </a:lnTo>
                          <a:lnTo>
                            <a:pt x="1065" y="270"/>
                          </a:lnTo>
                          <a:lnTo>
                            <a:pt x="1065" y="270"/>
                          </a:lnTo>
                          <a:lnTo>
                            <a:pt x="1068" y="270"/>
                          </a:lnTo>
                          <a:lnTo>
                            <a:pt x="1068" y="270"/>
                          </a:lnTo>
                          <a:lnTo>
                            <a:pt x="1070" y="272"/>
                          </a:lnTo>
                          <a:lnTo>
                            <a:pt x="1070" y="272"/>
                          </a:lnTo>
                          <a:lnTo>
                            <a:pt x="1070" y="272"/>
                          </a:lnTo>
                          <a:lnTo>
                            <a:pt x="1070" y="272"/>
                          </a:lnTo>
                          <a:lnTo>
                            <a:pt x="1075" y="267"/>
                          </a:lnTo>
                          <a:lnTo>
                            <a:pt x="1075" y="267"/>
                          </a:lnTo>
                          <a:lnTo>
                            <a:pt x="1077" y="267"/>
                          </a:lnTo>
                          <a:lnTo>
                            <a:pt x="1077" y="267"/>
                          </a:lnTo>
                          <a:lnTo>
                            <a:pt x="1079" y="279"/>
                          </a:lnTo>
                          <a:lnTo>
                            <a:pt x="1079" y="279"/>
                          </a:lnTo>
                          <a:lnTo>
                            <a:pt x="1084" y="286"/>
                          </a:lnTo>
                          <a:lnTo>
                            <a:pt x="1084" y="286"/>
                          </a:lnTo>
                          <a:lnTo>
                            <a:pt x="1084" y="293"/>
                          </a:lnTo>
                          <a:lnTo>
                            <a:pt x="1084" y="293"/>
                          </a:lnTo>
                          <a:lnTo>
                            <a:pt x="1094" y="296"/>
                          </a:lnTo>
                          <a:lnTo>
                            <a:pt x="1094" y="296"/>
                          </a:lnTo>
                          <a:lnTo>
                            <a:pt x="1094" y="300"/>
                          </a:lnTo>
                          <a:lnTo>
                            <a:pt x="1094" y="300"/>
                          </a:lnTo>
                          <a:lnTo>
                            <a:pt x="1094" y="300"/>
                          </a:lnTo>
                          <a:lnTo>
                            <a:pt x="1094" y="300"/>
                          </a:lnTo>
                          <a:lnTo>
                            <a:pt x="1096" y="303"/>
                          </a:lnTo>
                          <a:lnTo>
                            <a:pt x="1096" y="303"/>
                          </a:lnTo>
                          <a:lnTo>
                            <a:pt x="1103" y="305"/>
                          </a:lnTo>
                          <a:lnTo>
                            <a:pt x="1103" y="305"/>
                          </a:lnTo>
                          <a:lnTo>
                            <a:pt x="1105" y="307"/>
                          </a:lnTo>
                          <a:lnTo>
                            <a:pt x="1105" y="307"/>
                          </a:lnTo>
                          <a:lnTo>
                            <a:pt x="1113" y="305"/>
                          </a:lnTo>
                          <a:lnTo>
                            <a:pt x="1113" y="305"/>
                          </a:lnTo>
                          <a:lnTo>
                            <a:pt x="1117" y="310"/>
                          </a:lnTo>
                          <a:lnTo>
                            <a:pt x="1117" y="310"/>
                          </a:lnTo>
                          <a:lnTo>
                            <a:pt x="1117" y="312"/>
                          </a:lnTo>
                          <a:lnTo>
                            <a:pt x="1117" y="312"/>
                          </a:lnTo>
                          <a:lnTo>
                            <a:pt x="1115" y="312"/>
                          </a:lnTo>
                          <a:lnTo>
                            <a:pt x="1115" y="312"/>
                          </a:lnTo>
                          <a:lnTo>
                            <a:pt x="1113" y="312"/>
                          </a:lnTo>
                          <a:lnTo>
                            <a:pt x="1113" y="312"/>
                          </a:lnTo>
                          <a:lnTo>
                            <a:pt x="1110" y="312"/>
                          </a:lnTo>
                          <a:lnTo>
                            <a:pt x="1110" y="312"/>
                          </a:lnTo>
                          <a:lnTo>
                            <a:pt x="1105" y="315"/>
                          </a:lnTo>
                          <a:lnTo>
                            <a:pt x="1105" y="315"/>
                          </a:lnTo>
                          <a:lnTo>
                            <a:pt x="1105" y="315"/>
                          </a:lnTo>
                          <a:lnTo>
                            <a:pt x="1105" y="315"/>
                          </a:lnTo>
                          <a:lnTo>
                            <a:pt x="1108" y="319"/>
                          </a:lnTo>
                          <a:lnTo>
                            <a:pt x="1108" y="319"/>
                          </a:lnTo>
                          <a:lnTo>
                            <a:pt x="1108" y="324"/>
                          </a:lnTo>
                          <a:lnTo>
                            <a:pt x="1108" y="324"/>
                          </a:lnTo>
                          <a:lnTo>
                            <a:pt x="1113" y="326"/>
                          </a:lnTo>
                          <a:lnTo>
                            <a:pt x="1113" y="326"/>
                          </a:lnTo>
                          <a:lnTo>
                            <a:pt x="1117" y="326"/>
                          </a:lnTo>
                          <a:lnTo>
                            <a:pt x="1117" y="326"/>
                          </a:lnTo>
                          <a:lnTo>
                            <a:pt x="1124" y="324"/>
                          </a:lnTo>
                          <a:lnTo>
                            <a:pt x="1124" y="324"/>
                          </a:lnTo>
                          <a:lnTo>
                            <a:pt x="1127" y="319"/>
                          </a:lnTo>
                          <a:lnTo>
                            <a:pt x="1127" y="319"/>
                          </a:lnTo>
                          <a:lnTo>
                            <a:pt x="1129" y="310"/>
                          </a:lnTo>
                          <a:lnTo>
                            <a:pt x="1129" y="310"/>
                          </a:lnTo>
                          <a:lnTo>
                            <a:pt x="1134" y="300"/>
                          </a:lnTo>
                          <a:lnTo>
                            <a:pt x="1134" y="300"/>
                          </a:lnTo>
                          <a:lnTo>
                            <a:pt x="1134" y="298"/>
                          </a:lnTo>
                          <a:lnTo>
                            <a:pt x="1134" y="298"/>
                          </a:lnTo>
                          <a:lnTo>
                            <a:pt x="1134" y="300"/>
                          </a:lnTo>
                          <a:lnTo>
                            <a:pt x="1134" y="300"/>
                          </a:lnTo>
                          <a:lnTo>
                            <a:pt x="1136" y="300"/>
                          </a:lnTo>
                          <a:lnTo>
                            <a:pt x="1136" y="300"/>
                          </a:lnTo>
                          <a:lnTo>
                            <a:pt x="1139" y="303"/>
                          </a:lnTo>
                          <a:lnTo>
                            <a:pt x="1139" y="303"/>
                          </a:lnTo>
                          <a:lnTo>
                            <a:pt x="1141" y="307"/>
                          </a:lnTo>
                          <a:lnTo>
                            <a:pt x="1141" y="307"/>
                          </a:lnTo>
                          <a:lnTo>
                            <a:pt x="1143" y="310"/>
                          </a:lnTo>
                          <a:lnTo>
                            <a:pt x="1143" y="310"/>
                          </a:lnTo>
                          <a:lnTo>
                            <a:pt x="1146" y="312"/>
                          </a:lnTo>
                          <a:lnTo>
                            <a:pt x="1146" y="312"/>
                          </a:lnTo>
                          <a:lnTo>
                            <a:pt x="1148" y="315"/>
                          </a:lnTo>
                          <a:lnTo>
                            <a:pt x="1148" y="315"/>
                          </a:lnTo>
                          <a:lnTo>
                            <a:pt x="1150" y="319"/>
                          </a:lnTo>
                          <a:lnTo>
                            <a:pt x="1150" y="319"/>
                          </a:lnTo>
                          <a:lnTo>
                            <a:pt x="1153" y="324"/>
                          </a:lnTo>
                          <a:lnTo>
                            <a:pt x="1153" y="324"/>
                          </a:lnTo>
                          <a:lnTo>
                            <a:pt x="1155" y="326"/>
                          </a:lnTo>
                          <a:lnTo>
                            <a:pt x="1155" y="326"/>
                          </a:lnTo>
                          <a:lnTo>
                            <a:pt x="1157" y="331"/>
                          </a:lnTo>
                          <a:lnTo>
                            <a:pt x="1157" y="331"/>
                          </a:lnTo>
                          <a:lnTo>
                            <a:pt x="1164" y="333"/>
                          </a:lnTo>
                          <a:lnTo>
                            <a:pt x="1164" y="333"/>
                          </a:lnTo>
                          <a:lnTo>
                            <a:pt x="1169" y="333"/>
                          </a:lnTo>
                          <a:lnTo>
                            <a:pt x="1169" y="333"/>
                          </a:lnTo>
                          <a:lnTo>
                            <a:pt x="1172" y="341"/>
                          </a:lnTo>
                          <a:lnTo>
                            <a:pt x="1172" y="341"/>
                          </a:lnTo>
                          <a:lnTo>
                            <a:pt x="1169" y="345"/>
                          </a:lnTo>
                          <a:lnTo>
                            <a:pt x="1169" y="345"/>
                          </a:lnTo>
                          <a:lnTo>
                            <a:pt x="1169" y="345"/>
                          </a:lnTo>
                          <a:lnTo>
                            <a:pt x="1169" y="345"/>
                          </a:lnTo>
                          <a:lnTo>
                            <a:pt x="1164" y="348"/>
                          </a:lnTo>
                          <a:lnTo>
                            <a:pt x="1164" y="348"/>
                          </a:lnTo>
                          <a:lnTo>
                            <a:pt x="1162" y="348"/>
                          </a:lnTo>
                          <a:lnTo>
                            <a:pt x="1162" y="348"/>
                          </a:lnTo>
                          <a:lnTo>
                            <a:pt x="1162" y="350"/>
                          </a:lnTo>
                          <a:lnTo>
                            <a:pt x="1162" y="350"/>
                          </a:lnTo>
                          <a:lnTo>
                            <a:pt x="1162" y="355"/>
                          </a:lnTo>
                          <a:lnTo>
                            <a:pt x="1162" y="355"/>
                          </a:lnTo>
                          <a:lnTo>
                            <a:pt x="1162" y="355"/>
                          </a:lnTo>
                          <a:lnTo>
                            <a:pt x="1162" y="355"/>
                          </a:lnTo>
                          <a:lnTo>
                            <a:pt x="1162" y="357"/>
                          </a:lnTo>
                          <a:lnTo>
                            <a:pt x="1162" y="357"/>
                          </a:lnTo>
                          <a:lnTo>
                            <a:pt x="1164" y="357"/>
                          </a:lnTo>
                          <a:lnTo>
                            <a:pt x="1164" y="357"/>
                          </a:lnTo>
                          <a:lnTo>
                            <a:pt x="1174" y="350"/>
                          </a:lnTo>
                          <a:lnTo>
                            <a:pt x="1174" y="350"/>
                          </a:lnTo>
                          <a:lnTo>
                            <a:pt x="1176" y="345"/>
                          </a:lnTo>
                          <a:lnTo>
                            <a:pt x="1176" y="345"/>
                          </a:lnTo>
                          <a:lnTo>
                            <a:pt x="1176" y="345"/>
                          </a:lnTo>
                          <a:lnTo>
                            <a:pt x="1176" y="345"/>
                          </a:lnTo>
                          <a:lnTo>
                            <a:pt x="1193" y="348"/>
                          </a:lnTo>
                          <a:lnTo>
                            <a:pt x="1193" y="348"/>
                          </a:lnTo>
                          <a:lnTo>
                            <a:pt x="1198" y="357"/>
                          </a:lnTo>
                          <a:lnTo>
                            <a:pt x="1198" y="357"/>
                          </a:lnTo>
                          <a:lnTo>
                            <a:pt x="1214" y="364"/>
                          </a:lnTo>
                          <a:lnTo>
                            <a:pt x="1214" y="364"/>
                          </a:lnTo>
                          <a:lnTo>
                            <a:pt x="1214" y="364"/>
                          </a:lnTo>
                          <a:lnTo>
                            <a:pt x="1214" y="364"/>
                          </a:lnTo>
                          <a:lnTo>
                            <a:pt x="1216" y="362"/>
                          </a:lnTo>
                          <a:lnTo>
                            <a:pt x="1216" y="362"/>
                          </a:lnTo>
                          <a:lnTo>
                            <a:pt x="1216" y="362"/>
                          </a:lnTo>
                          <a:lnTo>
                            <a:pt x="1216" y="362"/>
                          </a:lnTo>
                          <a:lnTo>
                            <a:pt x="1219" y="359"/>
                          </a:lnTo>
                          <a:lnTo>
                            <a:pt x="1219" y="359"/>
                          </a:lnTo>
                          <a:lnTo>
                            <a:pt x="1235" y="362"/>
                          </a:lnTo>
                          <a:lnTo>
                            <a:pt x="1235" y="362"/>
                          </a:lnTo>
                          <a:lnTo>
                            <a:pt x="1240" y="362"/>
                          </a:lnTo>
                          <a:lnTo>
                            <a:pt x="1240" y="362"/>
                          </a:lnTo>
                          <a:lnTo>
                            <a:pt x="1247" y="369"/>
                          </a:lnTo>
                          <a:lnTo>
                            <a:pt x="1247" y="369"/>
                          </a:lnTo>
                          <a:lnTo>
                            <a:pt x="1259" y="374"/>
                          </a:lnTo>
                          <a:lnTo>
                            <a:pt x="1259" y="374"/>
                          </a:lnTo>
                          <a:lnTo>
                            <a:pt x="1271" y="381"/>
                          </a:lnTo>
                          <a:lnTo>
                            <a:pt x="1271" y="381"/>
                          </a:lnTo>
                          <a:lnTo>
                            <a:pt x="1273" y="385"/>
                          </a:lnTo>
                          <a:lnTo>
                            <a:pt x="1273" y="385"/>
                          </a:lnTo>
                          <a:lnTo>
                            <a:pt x="1273" y="385"/>
                          </a:lnTo>
                          <a:lnTo>
                            <a:pt x="1273" y="385"/>
                          </a:lnTo>
                          <a:lnTo>
                            <a:pt x="1273" y="393"/>
                          </a:lnTo>
                          <a:lnTo>
                            <a:pt x="1273" y="393"/>
                          </a:lnTo>
                          <a:lnTo>
                            <a:pt x="1273" y="395"/>
                          </a:lnTo>
                          <a:lnTo>
                            <a:pt x="1273" y="395"/>
                          </a:lnTo>
                          <a:lnTo>
                            <a:pt x="1273" y="397"/>
                          </a:lnTo>
                          <a:lnTo>
                            <a:pt x="1273" y="397"/>
                          </a:lnTo>
                          <a:lnTo>
                            <a:pt x="1276" y="397"/>
                          </a:lnTo>
                          <a:lnTo>
                            <a:pt x="1276" y="397"/>
                          </a:lnTo>
                          <a:lnTo>
                            <a:pt x="1276" y="395"/>
                          </a:lnTo>
                          <a:lnTo>
                            <a:pt x="1276" y="395"/>
                          </a:lnTo>
                          <a:lnTo>
                            <a:pt x="1276" y="395"/>
                          </a:lnTo>
                          <a:lnTo>
                            <a:pt x="1276" y="395"/>
                          </a:lnTo>
                          <a:lnTo>
                            <a:pt x="1276" y="393"/>
                          </a:lnTo>
                          <a:lnTo>
                            <a:pt x="1276" y="393"/>
                          </a:lnTo>
                          <a:lnTo>
                            <a:pt x="1276" y="393"/>
                          </a:lnTo>
                          <a:lnTo>
                            <a:pt x="1276" y="393"/>
                          </a:lnTo>
                          <a:lnTo>
                            <a:pt x="1285" y="395"/>
                          </a:lnTo>
                          <a:lnTo>
                            <a:pt x="1285" y="395"/>
                          </a:lnTo>
                          <a:lnTo>
                            <a:pt x="1287" y="397"/>
                          </a:lnTo>
                          <a:lnTo>
                            <a:pt x="1287" y="397"/>
                          </a:lnTo>
                          <a:lnTo>
                            <a:pt x="1290" y="397"/>
                          </a:lnTo>
                          <a:lnTo>
                            <a:pt x="1290" y="397"/>
                          </a:lnTo>
                          <a:lnTo>
                            <a:pt x="1290" y="397"/>
                          </a:lnTo>
                          <a:lnTo>
                            <a:pt x="1290" y="397"/>
                          </a:lnTo>
                          <a:lnTo>
                            <a:pt x="1292" y="395"/>
                          </a:lnTo>
                          <a:lnTo>
                            <a:pt x="1292" y="395"/>
                          </a:lnTo>
                          <a:lnTo>
                            <a:pt x="1301" y="393"/>
                          </a:lnTo>
                          <a:lnTo>
                            <a:pt x="1301" y="393"/>
                          </a:lnTo>
                          <a:lnTo>
                            <a:pt x="1320" y="390"/>
                          </a:lnTo>
                          <a:lnTo>
                            <a:pt x="1320" y="390"/>
                          </a:lnTo>
                          <a:lnTo>
                            <a:pt x="1332" y="390"/>
                          </a:lnTo>
                          <a:lnTo>
                            <a:pt x="1332" y="390"/>
                          </a:lnTo>
                          <a:lnTo>
                            <a:pt x="1335" y="390"/>
                          </a:lnTo>
                          <a:lnTo>
                            <a:pt x="1335" y="390"/>
                          </a:lnTo>
                          <a:lnTo>
                            <a:pt x="1346" y="400"/>
                          </a:lnTo>
                          <a:lnTo>
                            <a:pt x="1346" y="400"/>
                          </a:lnTo>
                          <a:lnTo>
                            <a:pt x="1349" y="404"/>
                          </a:lnTo>
                          <a:lnTo>
                            <a:pt x="1349" y="404"/>
                          </a:lnTo>
                          <a:lnTo>
                            <a:pt x="1353" y="409"/>
                          </a:lnTo>
                          <a:lnTo>
                            <a:pt x="1353" y="409"/>
                          </a:lnTo>
                          <a:lnTo>
                            <a:pt x="1353" y="411"/>
                          </a:lnTo>
                          <a:lnTo>
                            <a:pt x="1353" y="411"/>
                          </a:lnTo>
                          <a:lnTo>
                            <a:pt x="1353" y="411"/>
                          </a:lnTo>
                          <a:lnTo>
                            <a:pt x="1353" y="411"/>
                          </a:lnTo>
                          <a:lnTo>
                            <a:pt x="1351" y="421"/>
                          </a:lnTo>
                          <a:lnTo>
                            <a:pt x="1351" y="421"/>
                          </a:lnTo>
                          <a:lnTo>
                            <a:pt x="1346" y="428"/>
                          </a:lnTo>
                          <a:lnTo>
                            <a:pt x="1346" y="428"/>
                          </a:lnTo>
                          <a:lnTo>
                            <a:pt x="1342" y="435"/>
                          </a:lnTo>
                          <a:lnTo>
                            <a:pt x="1342" y="435"/>
                          </a:lnTo>
                          <a:lnTo>
                            <a:pt x="1337" y="433"/>
                          </a:lnTo>
                          <a:lnTo>
                            <a:pt x="1337" y="433"/>
                          </a:lnTo>
                          <a:lnTo>
                            <a:pt x="1339" y="433"/>
                          </a:lnTo>
                          <a:lnTo>
                            <a:pt x="1339" y="433"/>
                          </a:lnTo>
                          <a:lnTo>
                            <a:pt x="1337" y="430"/>
                          </a:lnTo>
                          <a:lnTo>
                            <a:pt x="1337" y="430"/>
                          </a:lnTo>
                          <a:lnTo>
                            <a:pt x="1332" y="426"/>
                          </a:lnTo>
                          <a:lnTo>
                            <a:pt x="1332" y="426"/>
                          </a:lnTo>
                          <a:lnTo>
                            <a:pt x="1330" y="428"/>
                          </a:lnTo>
                          <a:lnTo>
                            <a:pt x="1330" y="428"/>
                          </a:lnTo>
                          <a:lnTo>
                            <a:pt x="1327" y="430"/>
                          </a:lnTo>
                          <a:lnTo>
                            <a:pt x="1327" y="430"/>
                          </a:lnTo>
                          <a:lnTo>
                            <a:pt x="1327" y="435"/>
                          </a:lnTo>
                          <a:lnTo>
                            <a:pt x="1327" y="435"/>
                          </a:lnTo>
                          <a:lnTo>
                            <a:pt x="1330" y="437"/>
                          </a:lnTo>
                          <a:lnTo>
                            <a:pt x="1330" y="437"/>
                          </a:lnTo>
                          <a:lnTo>
                            <a:pt x="1332" y="437"/>
                          </a:lnTo>
                          <a:lnTo>
                            <a:pt x="1332" y="437"/>
                          </a:lnTo>
                          <a:lnTo>
                            <a:pt x="1337" y="435"/>
                          </a:lnTo>
                          <a:lnTo>
                            <a:pt x="1337" y="435"/>
                          </a:lnTo>
                          <a:lnTo>
                            <a:pt x="1339" y="435"/>
                          </a:lnTo>
                          <a:lnTo>
                            <a:pt x="1339" y="435"/>
                          </a:lnTo>
                          <a:lnTo>
                            <a:pt x="1346" y="437"/>
                          </a:lnTo>
                          <a:lnTo>
                            <a:pt x="1346" y="437"/>
                          </a:lnTo>
                          <a:lnTo>
                            <a:pt x="1349" y="437"/>
                          </a:lnTo>
                          <a:lnTo>
                            <a:pt x="1349" y="437"/>
                          </a:lnTo>
                          <a:lnTo>
                            <a:pt x="1351" y="440"/>
                          </a:lnTo>
                          <a:lnTo>
                            <a:pt x="1351" y="440"/>
                          </a:lnTo>
                          <a:lnTo>
                            <a:pt x="1356" y="445"/>
                          </a:lnTo>
                          <a:lnTo>
                            <a:pt x="1356" y="445"/>
                          </a:lnTo>
                          <a:lnTo>
                            <a:pt x="1356" y="449"/>
                          </a:lnTo>
                          <a:lnTo>
                            <a:pt x="1356" y="449"/>
                          </a:lnTo>
                          <a:lnTo>
                            <a:pt x="1356" y="452"/>
                          </a:lnTo>
                          <a:lnTo>
                            <a:pt x="1356" y="452"/>
                          </a:lnTo>
                          <a:lnTo>
                            <a:pt x="1356" y="454"/>
                          </a:lnTo>
                          <a:lnTo>
                            <a:pt x="1356" y="454"/>
                          </a:lnTo>
                          <a:lnTo>
                            <a:pt x="1353" y="454"/>
                          </a:lnTo>
                          <a:lnTo>
                            <a:pt x="1353" y="454"/>
                          </a:lnTo>
                          <a:lnTo>
                            <a:pt x="1351" y="452"/>
                          </a:lnTo>
                          <a:lnTo>
                            <a:pt x="1351" y="452"/>
                          </a:lnTo>
                          <a:lnTo>
                            <a:pt x="1351" y="452"/>
                          </a:lnTo>
                          <a:lnTo>
                            <a:pt x="1351" y="452"/>
                          </a:lnTo>
                          <a:lnTo>
                            <a:pt x="1349" y="447"/>
                          </a:lnTo>
                          <a:lnTo>
                            <a:pt x="1349" y="447"/>
                          </a:lnTo>
                          <a:lnTo>
                            <a:pt x="1346" y="442"/>
                          </a:lnTo>
                          <a:lnTo>
                            <a:pt x="1346" y="442"/>
                          </a:lnTo>
                          <a:lnTo>
                            <a:pt x="1344" y="442"/>
                          </a:lnTo>
                          <a:lnTo>
                            <a:pt x="1344" y="442"/>
                          </a:lnTo>
                          <a:lnTo>
                            <a:pt x="1342" y="442"/>
                          </a:lnTo>
                          <a:lnTo>
                            <a:pt x="1342" y="442"/>
                          </a:lnTo>
                          <a:lnTo>
                            <a:pt x="1337" y="445"/>
                          </a:lnTo>
                          <a:lnTo>
                            <a:pt x="1337" y="445"/>
                          </a:lnTo>
                          <a:lnTo>
                            <a:pt x="1335" y="447"/>
                          </a:lnTo>
                          <a:lnTo>
                            <a:pt x="1335" y="447"/>
                          </a:lnTo>
                          <a:lnTo>
                            <a:pt x="1330" y="447"/>
                          </a:lnTo>
                          <a:lnTo>
                            <a:pt x="1330" y="447"/>
                          </a:lnTo>
                          <a:lnTo>
                            <a:pt x="1325" y="447"/>
                          </a:lnTo>
                          <a:lnTo>
                            <a:pt x="1325" y="447"/>
                          </a:lnTo>
                          <a:lnTo>
                            <a:pt x="1323" y="461"/>
                          </a:lnTo>
                          <a:lnTo>
                            <a:pt x="1323" y="461"/>
                          </a:lnTo>
                          <a:lnTo>
                            <a:pt x="1325" y="466"/>
                          </a:lnTo>
                          <a:lnTo>
                            <a:pt x="1325" y="466"/>
                          </a:lnTo>
                          <a:lnTo>
                            <a:pt x="1325" y="468"/>
                          </a:lnTo>
                          <a:lnTo>
                            <a:pt x="1325" y="468"/>
                          </a:lnTo>
                          <a:lnTo>
                            <a:pt x="1332" y="470"/>
                          </a:lnTo>
                          <a:lnTo>
                            <a:pt x="1332" y="470"/>
                          </a:lnTo>
                          <a:lnTo>
                            <a:pt x="1332" y="473"/>
                          </a:lnTo>
                          <a:lnTo>
                            <a:pt x="1332" y="473"/>
                          </a:lnTo>
                          <a:lnTo>
                            <a:pt x="1335" y="470"/>
                          </a:lnTo>
                          <a:lnTo>
                            <a:pt x="1335" y="470"/>
                          </a:lnTo>
                          <a:lnTo>
                            <a:pt x="1342" y="461"/>
                          </a:lnTo>
                          <a:lnTo>
                            <a:pt x="1342" y="461"/>
                          </a:lnTo>
                          <a:lnTo>
                            <a:pt x="1346" y="454"/>
                          </a:lnTo>
                          <a:lnTo>
                            <a:pt x="1346" y="454"/>
                          </a:lnTo>
                          <a:lnTo>
                            <a:pt x="1346" y="454"/>
                          </a:lnTo>
                          <a:lnTo>
                            <a:pt x="1346" y="454"/>
                          </a:lnTo>
                          <a:lnTo>
                            <a:pt x="1349" y="459"/>
                          </a:lnTo>
                          <a:lnTo>
                            <a:pt x="1349" y="459"/>
                          </a:lnTo>
                          <a:lnTo>
                            <a:pt x="1351" y="463"/>
                          </a:lnTo>
                          <a:lnTo>
                            <a:pt x="1351" y="463"/>
                          </a:lnTo>
                          <a:lnTo>
                            <a:pt x="1349" y="463"/>
                          </a:lnTo>
                          <a:lnTo>
                            <a:pt x="1349" y="463"/>
                          </a:lnTo>
                          <a:lnTo>
                            <a:pt x="1349" y="463"/>
                          </a:lnTo>
                          <a:lnTo>
                            <a:pt x="1349" y="463"/>
                          </a:lnTo>
                          <a:lnTo>
                            <a:pt x="1349" y="463"/>
                          </a:lnTo>
                          <a:lnTo>
                            <a:pt x="1349" y="463"/>
                          </a:lnTo>
                          <a:lnTo>
                            <a:pt x="1351" y="463"/>
                          </a:lnTo>
                          <a:lnTo>
                            <a:pt x="1351" y="463"/>
                          </a:lnTo>
                          <a:lnTo>
                            <a:pt x="1353" y="461"/>
                          </a:lnTo>
                          <a:lnTo>
                            <a:pt x="1353" y="461"/>
                          </a:lnTo>
                          <a:lnTo>
                            <a:pt x="1353" y="459"/>
                          </a:lnTo>
                          <a:lnTo>
                            <a:pt x="1353" y="459"/>
                          </a:lnTo>
                          <a:lnTo>
                            <a:pt x="1361" y="452"/>
                          </a:lnTo>
                          <a:lnTo>
                            <a:pt x="1361" y="452"/>
                          </a:lnTo>
                          <a:lnTo>
                            <a:pt x="1361" y="452"/>
                          </a:lnTo>
                          <a:lnTo>
                            <a:pt x="1361" y="452"/>
                          </a:lnTo>
                          <a:lnTo>
                            <a:pt x="1361" y="452"/>
                          </a:lnTo>
                          <a:lnTo>
                            <a:pt x="1361" y="452"/>
                          </a:lnTo>
                          <a:lnTo>
                            <a:pt x="1363" y="454"/>
                          </a:lnTo>
                          <a:lnTo>
                            <a:pt x="1363" y="454"/>
                          </a:lnTo>
                          <a:lnTo>
                            <a:pt x="1368" y="463"/>
                          </a:lnTo>
                          <a:lnTo>
                            <a:pt x="1368" y="463"/>
                          </a:lnTo>
                          <a:lnTo>
                            <a:pt x="1368" y="463"/>
                          </a:lnTo>
                          <a:lnTo>
                            <a:pt x="1368" y="463"/>
                          </a:lnTo>
                          <a:lnTo>
                            <a:pt x="1365" y="463"/>
                          </a:lnTo>
                          <a:lnTo>
                            <a:pt x="1365" y="463"/>
                          </a:lnTo>
                          <a:lnTo>
                            <a:pt x="1365" y="463"/>
                          </a:lnTo>
                          <a:lnTo>
                            <a:pt x="1365" y="463"/>
                          </a:lnTo>
                          <a:lnTo>
                            <a:pt x="1363" y="463"/>
                          </a:lnTo>
                          <a:lnTo>
                            <a:pt x="1363" y="463"/>
                          </a:lnTo>
                          <a:lnTo>
                            <a:pt x="1361" y="461"/>
                          </a:lnTo>
                          <a:lnTo>
                            <a:pt x="1361" y="461"/>
                          </a:lnTo>
                          <a:lnTo>
                            <a:pt x="1358" y="461"/>
                          </a:lnTo>
                          <a:lnTo>
                            <a:pt x="1358" y="461"/>
                          </a:lnTo>
                          <a:lnTo>
                            <a:pt x="1356" y="463"/>
                          </a:lnTo>
                          <a:lnTo>
                            <a:pt x="1356" y="463"/>
                          </a:lnTo>
                          <a:lnTo>
                            <a:pt x="1353" y="466"/>
                          </a:lnTo>
                          <a:lnTo>
                            <a:pt x="1353" y="466"/>
                          </a:lnTo>
                          <a:lnTo>
                            <a:pt x="1351" y="470"/>
                          </a:lnTo>
                          <a:lnTo>
                            <a:pt x="1351" y="470"/>
                          </a:lnTo>
                          <a:lnTo>
                            <a:pt x="1353" y="473"/>
                          </a:lnTo>
                          <a:lnTo>
                            <a:pt x="1353" y="473"/>
                          </a:lnTo>
                          <a:lnTo>
                            <a:pt x="1356" y="473"/>
                          </a:lnTo>
                          <a:lnTo>
                            <a:pt x="1356" y="473"/>
                          </a:lnTo>
                          <a:lnTo>
                            <a:pt x="1368" y="470"/>
                          </a:lnTo>
                          <a:lnTo>
                            <a:pt x="1368" y="470"/>
                          </a:lnTo>
                          <a:lnTo>
                            <a:pt x="1370" y="468"/>
                          </a:lnTo>
                          <a:lnTo>
                            <a:pt x="1370" y="468"/>
                          </a:lnTo>
                          <a:lnTo>
                            <a:pt x="1368" y="466"/>
                          </a:lnTo>
                          <a:lnTo>
                            <a:pt x="1368" y="466"/>
                          </a:lnTo>
                          <a:lnTo>
                            <a:pt x="1368" y="463"/>
                          </a:lnTo>
                          <a:lnTo>
                            <a:pt x="1368" y="463"/>
                          </a:lnTo>
                          <a:lnTo>
                            <a:pt x="1368" y="463"/>
                          </a:lnTo>
                          <a:lnTo>
                            <a:pt x="1368" y="463"/>
                          </a:lnTo>
                          <a:lnTo>
                            <a:pt x="1372" y="461"/>
                          </a:lnTo>
                          <a:lnTo>
                            <a:pt x="1372" y="461"/>
                          </a:lnTo>
                          <a:lnTo>
                            <a:pt x="1382" y="463"/>
                          </a:lnTo>
                          <a:lnTo>
                            <a:pt x="1382" y="463"/>
                          </a:lnTo>
                          <a:lnTo>
                            <a:pt x="1384" y="463"/>
                          </a:lnTo>
                          <a:lnTo>
                            <a:pt x="1384" y="463"/>
                          </a:lnTo>
                          <a:lnTo>
                            <a:pt x="1389" y="466"/>
                          </a:lnTo>
                          <a:lnTo>
                            <a:pt x="1389" y="466"/>
                          </a:lnTo>
                          <a:lnTo>
                            <a:pt x="1382" y="468"/>
                          </a:lnTo>
                          <a:lnTo>
                            <a:pt x="1382" y="468"/>
                          </a:lnTo>
                          <a:lnTo>
                            <a:pt x="1382" y="470"/>
                          </a:lnTo>
                          <a:lnTo>
                            <a:pt x="1382" y="470"/>
                          </a:lnTo>
                          <a:lnTo>
                            <a:pt x="1384" y="475"/>
                          </a:lnTo>
                          <a:lnTo>
                            <a:pt x="1384" y="475"/>
                          </a:lnTo>
                          <a:lnTo>
                            <a:pt x="1384" y="475"/>
                          </a:lnTo>
                          <a:lnTo>
                            <a:pt x="1384" y="475"/>
                          </a:lnTo>
                          <a:lnTo>
                            <a:pt x="1389" y="478"/>
                          </a:lnTo>
                          <a:lnTo>
                            <a:pt x="1389" y="478"/>
                          </a:lnTo>
                          <a:lnTo>
                            <a:pt x="1389" y="478"/>
                          </a:lnTo>
                          <a:lnTo>
                            <a:pt x="1389" y="478"/>
                          </a:lnTo>
                          <a:lnTo>
                            <a:pt x="1398" y="475"/>
                          </a:lnTo>
                          <a:lnTo>
                            <a:pt x="1398" y="475"/>
                          </a:lnTo>
                          <a:lnTo>
                            <a:pt x="1398" y="473"/>
                          </a:lnTo>
                          <a:lnTo>
                            <a:pt x="1398" y="473"/>
                          </a:lnTo>
                          <a:lnTo>
                            <a:pt x="1396" y="473"/>
                          </a:lnTo>
                          <a:lnTo>
                            <a:pt x="1396" y="473"/>
                          </a:lnTo>
                          <a:lnTo>
                            <a:pt x="1389" y="468"/>
                          </a:lnTo>
                          <a:lnTo>
                            <a:pt x="1389" y="468"/>
                          </a:lnTo>
                          <a:lnTo>
                            <a:pt x="1389" y="470"/>
                          </a:lnTo>
                          <a:lnTo>
                            <a:pt x="1389" y="470"/>
                          </a:lnTo>
                          <a:lnTo>
                            <a:pt x="1387" y="468"/>
                          </a:lnTo>
                          <a:lnTo>
                            <a:pt x="1387" y="468"/>
                          </a:lnTo>
                          <a:lnTo>
                            <a:pt x="1387" y="468"/>
                          </a:lnTo>
                          <a:lnTo>
                            <a:pt x="1387" y="468"/>
                          </a:lnTo>
                          <a:lnTo>
                            <a:pt x="1389" y="466"/>
                          </a:lnTo>
                          <a:lnTo>
                            <a:pt x="1389" y="466"/>
                          </a:lnTo>
                          <a:lnTo>
                            <a:pt x="1396" y="466"/>
                          </a:lnTo>
                          <a:lnTo>
                            <a:pt x="1396" y="466"/>
                          </a:lnTo>
                          <a:lnTo>
                            <a:pt x="1398" y="466"/>
                          </a:lnTo>
                          <a:lnTo>
                            <a:pt x="1398" y="466"/>
                          </a:lnTo>
                          <a:lnTo>
                            <a:pt x="1398" y="466"/>
                          </a:lnTo>
                          <a:lnTo>
                            <a:pt x="1398" y="466"/>
                          </a:lnTo>
                          <a:lnTo>
                            <a:pt x="1401" y="466"/>
                          </a:lnTo>
                          <a:lnTo>
                            <a:pt x="1401" y="466"/>
                          </a:lnTo>
                          <a:lnTo>
                            <a:pt x="1403" y="466"/>
                          </a:lnTo>
                          <a:lnTo>
                            <a:pt x="1403" y="466"/>
                          </a:lnTo>
                          <a:lnTo>
                            <a:pt x="1413" y="470"/>
                          </a:lnTo>
                          <a:lnTo>
                            <a:pt x="1413" y="470"/>
                          </a:lnTo>
                          <a:lnTo>
                            <a:pt x="1422" y="473"/>
                          </a:lnTo>
                          <a:lnTo>
                            <a:pt x="1422" y="473"/>
                          </a:lnTo>
                          <a:lnTo>
                            <a:pt x="1429" y="473"/>
                          </a:lnTo>
                          <a:lnTo>
                            <a:pt x="1429" y="473"/>
                          </a:lnTo>
                          <a:lnTo>
                            <a:pt x="1431" y="470"/>
                          </a:lnTo>
                          <a:lnTo>
                            <a:pt x="1431" y="470"/>
                          </a:lnTo>
                          <a:lnTo>
                            <a:pt x="1438" y="470"/>
                          </a:lnTo>
                          <a:lnTo>
                            <a:pt x="1438" y="470"/>
                          </a:lnTo>
                          <a:lnTo>
                            <a:pt x="1453" y="480"/>
                          </a:lnTo>
                          <a:lnTo>
                            <a:pt x="1453" y="480"/>
                          </a:lnTo>
                          <a:lnTo>
                            <a:pt x="1455" y="482"/>
                          </a:lnTo>
                          <a:lnTo>
                            <a:pt x="1455" y="482"/>
                          </a:lnTo>
                          <a:lnTo>
                            <a:pt x="1457" y="485"/>
                          </a:lnTo>
                          <a:lnTo>
                            <a:pt x="1457" y="485"/>
                          </a:lnTo>
                          <a:lnTo>
                            <a:pt x="1460" y="485"/>
                          </a:lnTo>
                          <a:lnTo>
                            <a:pt x="1460" y="485"/>
                          </a:lnTo>
                          <a:lnTo>
                            <a:pt x="1469" y="485"/>
                          </a:lnTo>
                          <a:lnTo>
                            <a:pt x="1469" y="485"/>
                          </a:lnTo>
                          <a:lnTo>
                            <a:pt x="1474" y="489"/>
                          </a:lnTo>
                          <a:lnTo>
                            <a:pt x="1474" y="489"/>
                          </a:lnTo>
                          <a:lnTo>
                            <a:pt x="1479" y="501"/>
                          </a:lnTo>
                          <a:lnTo>
                            <a:pt x="1479" y="501"/>
                          </a:lnTo>
                          <a:lnTo>
                            <a:pt x="1486" y="506"/>
                          </a:lnTo>
                          <a:lnTo>
                            <a:pt x="1486" y="506"/>
                          </a:lnTo>
                          <a:lnTo>
                            <a:pt x="1493" y="511"/>
                          </a:lnTo>
                          <a:lnTo>
                            <a:pt x="1493" y="511"/>
                          </a:lnTo>
                          <a:lnTo>
                            <a:pt x="1500" y="522"/>
                          </a:lnTo>
                          <a:lnTo>
                            <a:pt x="1500" y="522"/>
                          </a:lnTo>
                          <a:lnTo>
                            <a:pt x="1505" y="530"/>
                          </a:lnTo>
                          <a:lnTo>
                            <a:pt x="1505" y="530"/>
                          </a:lnTo>
                          <a:lnTo>
                            <a:pt x="1505" y="532"/>
                          </a:lnTo>
                          <a:lnTo>
                            <a:pt x="1505" y="532"/>
                          </a:lnTo>
                          <a:lnTo>
                            <a:pt x="1509" y="537"/>
                          </a:lnTo>
                          <a:lnTo>
                            <a:pt x="1509" y="537"/>
                          </a:lnTo>
                          <a:lnTo>
                            <a:pt x="1509" y="539"/>
                          </a:lnTo>
                          <a:lnTo>
                            <a:pt x="1509" y="539"/>
                          </a:lnTo>
                          <a:lnTo>
                            <a:pt x="1512" y="539"/>
                          </a:lnTo>
                          <a:lnTo>
                            <a:pt x="1512" y="539"/>
                          </a:lnTo>
                          <a:lnTo>
                            <a:pt x="1512" y="539"/>
                          </a:lnTo>
                          <a:lnTo>
                            <a:pt x="1512" y="539"/>
                          </a:lnTo>
                          <a:lnTo>
                            <a:pt x="1512" y="537"/>
                          </a:lnTo>
                          <a:lnTo>
                            <a:pt x="1512" y="537"/>
                          </a:lnTo>
                          <a:lnTo>
                            <a:pt x="1512" y="537"/>
                          </a:lnTo>
                          <a:lnTo>
                            <a:pt x="1512" y="537"/>
                          </a:lnTo>
                          <a:lnTo>
                            <a:pt x="1512" y="537"/>
                          </a:lnTo>
                          <a:lnTo>
                            <a:pt x="1512" y="537"/>
                          </a:lnTo>
                          <a:lnTo>
                            <a:pt x="1514" y="537"/>
                          </a:lnTo>
                          <a:lnTo>
                            <a:pt x="1514" y="537"/>
                          </a:lnTo>
                          <a:lnTo>
                            <a:pt x="1521" y="544"/>
                          </a:lnTo>
                          <a:lnTo>
                            <a:pt x="1521" y="544"/>
                          </a:lnTo>
                          <a:lnTo>
                            <a:pt x="1524" y="546"/>
                          </a:lnTo>
                          <a:lnTo>
                            <a:pt x="1524" y="546"/>
                          </a:lnTo>
                          <a:lnTo>
                            <a:pt x="1526" y="546"/>
                          </a:lnTo>
                          <a:lnTo>
                            <a:pt x="1526" y="546"/>
                          </a:lnTo>
                          <a:lnTo>
                            <a:pt x="1535" y="546"/>
                          </a:lnTo>
                          <a:lnTo>
                            <a:pt x="1535" y="546"/>
                          </a:lnTo>
                          <a:lnTo>
                            <a:pt x="1535" y="546"/>
                          </a:lnTo>
                          <a:lnTo>
                            <a:pt x="1535" y="546"/>
                          </a:lnTo>
                          <a:lnTo>
                            <a:pt x="1538" y="544"/>
                          </a:lnTo>
                          <a:lnTo>
                            <a:pt x="1538" y="544"/>
                          </a:lnTo>
                          <a:lnTo>
                            <a:pt x="1545" y="544"/>
                          </a:lnTo>
                          <a:lnTo>
                            <a:pt x="1545" y="544"/>
                          </a:lnTo>
                          <a:lnTo>
                            <a:pt x="1547" y="544"/>
                          </a:lnTo>
                          <a:lnTo>
                            <a:pt x="1547" y="544"/>
                          </a:lnTo>
                          <a:lnTo>
                            <a:pt x="1552" y="546"/>
                          </a:lnTo>
                          <a:lnTo>
                            <a:pt x="1552" y="546"/>
                          </a:lnTo>
                          <a:lnTo>
                            <a:pt x="1559" y="553"/>
                          </a:lnTo>
                          <a:lnTo>
                            <a:pt x="1559" y="553"/>
                          </a:lnTo>
                          <a:lnTo>
                            <a:pt x="1559" y="556"/>
                          </a:lnTo>
                          <a:lnTo>
                            <a:pt x="1559" y="556"/>
                          </a:lnTo>
                          <a:lnTo>
                            <a:pt x="1559" y="560"/>
                          </a:lnTo>
                          <a:lnTo>
                            <a:pt x="1559" y="560"/>
                          </a:lnTo>
                          <a:lnTo>
                            <a:pt x="1561" y="565"/>
                          </a:lnTo>
                          <a:lnTo>
                            <a:pt x="1561" y="565"/>
                          </a:lnTo>
                          <a:lnTo>
                            <a:pt x="1559" y="565"/>
                          </a:lnTo>
                          <a:lnTo>
                            <a:pt x="1559" y="565"/>
                          </a:lnTo>
                          <a:lnTo>
                            <a:pt x="1559" y="570"/>
                          </a:lnTo>
                          <a:lnTo>
                            <a:pt x="1559" y="570"/>
                          </a:lnTo>
                          <a:lnTo>
                            <a:pt x="1557" y="570"/>
                          </a:lnTo>
                          <a:lnTo>
                            <a:pt x="1557" y="570"/>
                          </a:lnTo>
                          <a:lnTo>
                            <a:pt x="1550" y="577"/>
                          </a:lnTo>
                          <a:lnTo>
                            <a:pt x="1550" y="577"/>
                          </a:lnTo>
                          <a:lnTo>
                            <a:pt x="1547" y="577"/>
                          </a:lnTo>
                          <a:lnTo>
                            <a:pt x="1547" y="577"/>
                          </a:lnTo>
                          <a:lnTo>
                            <a:pt x="1547" y="579"/>
                          </a:lnTo>
                          <a:lnTo>
                            <a:pt x="1547" y="579"/>
                          </a:lnTo>
                          <a:lnTo>
                            <a:pt x="1545" y="584"/>
                          </a:lnTo>
                          <a:lnTo>
                            <a:pt x="1545" y="584"/>
                          </a:lnTo>
                          <a:lnTo>
                            <a:pt x="1545" y="586"/>
                          </a:lnTo>
                          <a:lnTo>
                            <a:pt x="1545" y="586"/>
                          </a:lnTo>
                          <a:lnTo>
                            <a:pt x="1542" y="589"/>
                          </a:lnTo>
                          <a:lnTo>
                            <a:pt x="1542" y="589"/>
                          </a:lnTo>
                          <a:lnTo>
                            <a:pt x="1542" y="589"/>
                          </a:lnTo>
                          <a:lnTo>
                            <a:pt x="1542" y="589"/>
                          </a:lnTo>
                          <a:lnTo>
                            <a:pt x="1540" y="591"/>
                          </a:lnTo>
                          <a:lnTo>
                            <a:pt x="1540" y="591"/>
                          </a:lnTo>
                          <a:lnTo>
                            <a:pt x="1538" y="591"/>
                          </a:lnTo>
                          <a:lnTo>
                            <a:pt x="1538" y="591"/>
                          </a:lnTo>
                          <a:lnTo>
                            <a:pt x="1538" y="589"/>
                          </a:lnTo>
                          <a:lnTo>
                            <a:pt x="1538" y="589"/>
                          </a:lnTo>
                          <a:lnTo>
                            <a:pt x="1535" y="589"/>
                          </a:lnTo>
                          <a:lnTo>
                            <a:pt x="1535" y="589"/>
                          </a:lnTo>
                          <a:lnTo>
                            <a:pt x="1535" y="586"/>
                          </a:lnTo>
                          <a:lnTo>
                            <a:pt x="1535" y="586"/>
                          </a:lnTo>
                          <a:lnTo>
                            <a:pt x="1528" y="586"/>
                          </a:lnTo>
                          <a:lnTo>
                            <a:pt x="1528" y="586"/>
                          </a:lnTo>
                          <a:lnTo>
                            <a:pt x="1509" y="591"/>
                          </a:lnTo>
                          <a:lnTo>
                            <a:pt x="1509" y="591"/>
                          </a:lnTo>
                          <a:lnTo>
                            <a:pt x="1500" y="593"/>
                          </a:lnTo>
                          <a:lnTo>
                            <a:pt x="1500" y="593"/>
                          </a:lnTo>
                          <a:lnTo>
                            <a:pt x="1488" y="593"/>
                          </a:lnTo>
                          <a:lnTo>
                            <a:pt x="1488" y="593"/>
                          </a:lnTo>
                          <a:lnTo>
                            <a:pt x="1479" y="593"/>
                          </a:lnTo>
                          <a:lnTo>
                            <a:pt x="1479" y="593"/>
                          </a:lnTo>
                          <a:lnTo>
                            <a:pt x="1479" y="593"/>
                          </a:lnTo>
                          <a:lnTo>
                            <a:pt x="1479" y="593"/>
                          </a:lnTo>
                          <a:lnTo>
                            <a:pt x="1462" y="596"/>
                          </a:lnTo>
                          <a:lnTo>
                            <a:pt x="1462" y="596"/>
                          </a:lnTo>
                          <a:lnTo>
                            <a:pt x="1460" y="596"/>
                          </a:lnTo>
                          <a:lnTo>
                            <a:pt x="1460" y="596"/>
                          </a:lnTo>
                          <a:lnTo>
                            <a:pt x="1457" y="598"/>
                          </a:lnTo>
                          <a:lnTo>
                            <a:pt x="1457" y="598"/>
                          </a:lnTo>
                          <a:lnTo>
                            <a:pt x="1455" y="600"/>
                          </a:lnTo>
                          <a:lnTo>
                            <a:pt x="1455" y="600"/>
                          </a:lnTo>
                          <a:lnTo>
                            <a:pt x="1453" y="605"/>
                          </a:lnTo>
                          <a:lnTo>
                            <a:pt x="1453" y="605"/>
                          </a:lnTo>
                          <a:lnTo>
                            <a:pt x="1450" y="605"/>
                          </a:lnTo>
                          <a:lnTo>
                            <a:pt x="1450" y="605"/>
                          </a:lnTo>
                          <a:lnTo>
                            <a:pt x="1443" y="610"/>
                          </a:lnTo>
                          <a:lnTo>
                            <a:pt x="1443" y="610"/>
                          </a:lnTo>
                          <a:lnTo>
                            <a:pt x="1443" y="610"/>
                          </a:lnTo>
                          <a:lnTo>
                            <a:pt x="1443" y="610"/>
                          </a:lnTo>
                          <a:lnTo>
                            <a:pt x="1441" y="615"/>
                          </a:lnTo>
                          <a:lnTo>
                            <a:pt x="1441" y="615"/>
                          </a:lnTo>
                          <a:lnTo>
                            <a:pt x="1438" y="617"/>
                          </a:lnTo>
                          <a:lnTo>
                            <a:pt x="1438" y="617"/>
                          </a:lnTo>
                          <a:lnTo>
                            <a:pt x="1436" y="617"/>
                          </a:lnTo>
                          <a:lnTo>
                            <a:pt x="1436" y="617"/>
                          </a:lnTo>
                          <a:lnTo>
                            <a:pt x="1431" y="619"/>
                          </a:lnTo>
                          <a:lnTo>
                            <a:pt x="1431" y="619"/>
                          </a:lnTo>
                          <a:lnTo>
                            <a:pt x="1413" y="622"/>
                          </a:lnTo>
                          <a:lnTo>
                            <a:pt x="1413" y="622"/>
                          </a:lnTo>
                          <a:lnTo>
                            <a:pt x="1413" y="622"/>
                          </a:lnTo>
                          <a:lnTo>
                            <a:pt x="1413" y="622"/>
                          </a:lnTo>
                          <a:lnTo>
                            <a:pt x="1410" y="622"/>
                          </a:lnTo>
                          <a:lnTo>
                            <a:pt x="1410" y="622"/>
                          </a:lnTo>
                          <a:lnTo>
                            <a:pt x="1413" y="619"/>
                          </a:lnTo>
                          <a:lnTo>
                            <a:pt x="1413" y="619"/>
                          </a:lnTo>
                          <a:lnTo>
                            <a:pt x="1413" y="619"/>
                          </a:lnTo>
                          <a:lnTo>
                            <a:pt x="1413" y="619"/>
                          </a:lnTo>
                          <a:lnTo>
                            <a:pt x="1413" y="617"/>
                          </a:lnTo>
                          <a:lnTo>
                            <a:pt x="1413" y="617"/>
                          </a:lnTo>
                          <a:lnTo>
                            <a:pt x="1413" y="617"/>
                          </a:lnTo>
                          <a:lnTo>
                            <a:pt x="1413" y="617"/>
                          </a:lnTo>
                          <a:lnTo>
                            <a:pt x="1415" y="617"/>
                          </a:lnTo>
                          <a:lnTo>
                            <a:pt x="1415" y="617"/>
                          </a:lnTo>
                          <a:lnTo>
                            <a:pt x="1417" y="612"/>
                          </a:lnTo>
                          <a:lnTo>
                            <a:pt x="1417" y="612"/>
                          </a:lnTo>
                          <a:lnTo>
                            <a:pt x="1417" y="612"/>
                          </a:lnTo>
                          <a:lnTo>
                            <a:pt x="1417" y="612"/>
                          </a:lnTo>
                          <a:lnTo>
                            <a:pt x="1417" y="612"/>
                          </a:lnTo>
                          <a:lnTo>
                            <a:pt x="1417" y="612"/>
                          </a:lnTo>
                          <a:lnTo>
                            <a:pt x="1415" y="608"/>
                          </a:lnTo>
                          <a:lnTo>
                            <a:pt x="1415" y="608"/>
                          </a:lnTo>
                          <a:lnTo>
                            <a:pt x="1413" y="605"/>
                          </a:lnTo>
                          <a:lnTo>
                            <a:pt x="1413" y="605"/>
                          </a:lnTo>
                          <a:lnTo>
                            <a:pt x="1413" y="608"/>
                          </a:lnTo>
                          <a:lnTo>
                            <a:pt x="1413" y="608"/>
                          </a:lnTo>
                          <a:lnTo>
                            <a:pt x="1413" y="610"/>
                          </a:lnTo>
                          <a:lnTo>
                            <a:pt x="1413" y="610"/>
                          </a:lnTo>
                          <a:lnTo>
                            <a:pt x="1413" y="612"/>
                          </a:lnTo>
                          <a:lnTo>
                            <a:pt x="1413" y="612"/>
                          </a:lnTo>
                          <a:lnTo>
                            <a:pt x="1408" y="619"/>
                          </a:lnTo>
                          <a:lnTo>
                            <a:pt x="1408" y="619"/>
                          </a:lnTo>
                          <a:lnTo>
                            <a:pt x="1394" y="624"/>
                          </a:lnTo>
                          <a:lnTo>
                            <a:pt x="1394" y="624"/>
                          </a:lnTo>
                          <a:lnTo>
                            <a:pt x="1391" y="624"/>
                          </a:lnTo>
                          <a:lnTo>
                            <a:pt x="1391" y="624"/>
                          </a:lnTo>
                          <a:lnTo>
                            <a:pt x="1384" y="624"/>
                          </a:lnTo>
                          <a:lnTo>
                            <a:pt x="1384" y="624"/>
                          </a:lnTo>
                          <a:lnTo>
                            <a:pt x="1375" y="622"/>
                          </a:lnTo>
                          <a:lnTo>
                            <a:pt x="1375" y="622"/>
                          </a:lnTo>
                          <a:lnTo>
                            <a:pt x="1370" y="622"/>
                          </a:lnTo>
                          <a:lnTo>
                            <a:pt x="1370" y="622"/>
                          </a:lnTo>
                          <a:lnTo>
                            <a:pt x="1370" y="624"/>
                          </a:lnTo>
                          <a:lnTo>
                            <a:pt x="1370" y="624"/>
                          </a:lnTo>
                          <a:lnTo>
                            <a:pt x="1368" y="624"/>
                          </a:lnTo>
                          <a:lnTo>
                            <a:pt x="1368" y="624"/>
                          </a:lnTo>
                          <a:lnTo>
                            <a:pt x="1363" y="624"/>
                          </a:lnTo>
                          <a:lnTo>
                            <a:pt x="1363" y="624"/>
                          </a:lnTo>
                          <a:lnTo>
                            <a:pt x="1358" y="624"/>
                          </a:lnTo>
                          <a:lnTo>
                            <a:pt x="1358" y="624"/>
                          </a:lnTo>
                          <a:lnTo>
                            <a:pt x="1351" y="622"/>
                          </a:lnTo>
                          <a:lnTo>
                            <a:pt x="1351" y="622"/>
                          </a:lnTo>
                          <a:lnTo>
                            <a:pt x="1349" y="622"/>
                          </a:lnTo>
                          <a:lnTo>
                            <a:pt x="1349" y="622"/>
                          </a:lnTo>
                          <a:lnTo>
                            <a:pt x="1344" y="619"/>
                          </a:lnTo>
                          <a:lnTo>
                            <a:pt x="1344" y="619"/>
                          </a:lnTo>
                          <a:lnTo>
                            <a:pt x="1335" y="610"/>
                          </a:lnTo>
                          <a:lnTo>
                            <a:pt x="1335" y="610"/>
                          </a:lnTo>
                          <a:lnTo>
                            <a:pt x="1316" y="608"/>
                          </a:lnTo>
                          <a:lnTo>
                            <a:pt x="1316" y="608"/>
                          </a:lnTo>
                          <a:lnTo>
                            <a:pt x="1304" y="608"/>
                          </a:lnTo>
                          <a:lnTo>
                            <a:pt x="1304" y="608"/>
                          </a:lnTo>
                          <a:lnTo>
                            <a:pt x="1299" y="610"/>
                          </a:lnTo>
                          <a:lnTo>
                            <a:pt x="1299" y="610"/>
                          </a:lnTo>
                          <a:lnTo>
                            <a:pt x="1297" y="610"/>
                          </a:lnTo>
                          <a:lnTo>
                            <a:pt x="1297" y="610"/>
                          </a:lnTo>
                          <a:lnTo>
                            <a:pt x="1287" y="610"/>
                          </a:lnTo>
                          <a:lnTo>
                            <a:pt x="1287" y="610"/>
                          </a:lnTo>
                          <a:lnTo>
                            <a:pt x="1280" y="610"/>
                          </a:lnTo>
                          <a:lnTo>
                            <a:pt x="1280" y="610"/>
                          </a:lnTo>
                          <a:lnTo>
                            <a:pt x="1278" y="608"/>
                          </a:lnTo>
                          <a:lnTo>
                            <a:pt x="1278" y="608"/>
                          </a:lnTo>
                          <a:lnTo>
                            <a:pt x="1271" y="605"/>
                          </a:lnTo>
                          <a:lnTo>
                            <a:pt x="1271" y="605"/>
                          </a:lnTo>
                          <a:lnTo>
                            <a:pt x="1254" y="603"/>
                          </a:lnTo>
                          <a:lnTo>
                            <a:pt x="1254" y="603"/>
                          </a:lnTo>
                          <a:lnTo>
                            <a:pt x="1242" y="608"/>
                          </a:lnTo>
                          <a:lnTo>
                            <a:pt x="1242" y="608"/>
                          </a:lnTo>
                          <a:lnTo>
                            <a:pt x="1235" y="608"/>
                          </a:lnTo>
                          <a:lnTo>
                            <a:pt x="1235" y="608"/>
                          </a:lnTo>
                          <a:lnTo>
                            <a:pt x="1228" y="608"/>
                          </a:lnTo>
                          <a:lnTo>
                            <a:pt x="1228" y="608"/>
                          </a:lnTo>
                          <a:lnTo>
                            <a:pt x="1226" y="610"/>
                          </a:lnTo>
                          <a:lnTo>
                            <a:pt x="1226" y="610"/>
                          </a:lnTo>
                          <a:lnTo>
                            <a:pt x="1221" y="610"/>
                          </a:lnTo>
                          <a:lnTo>
                            <a:pt x="1221" y="610"/>
                          </a:lnTo>
                          <a:lnTo>
                            <a:pt x="1219" y="612"/>
                          </a:lnTo>
                          <a:lnTo>
                            <a:pt x="1219" y="612"/>
                          </a:lnTo>
                          <a:lnTo>
                            <a:pt x="1216" y="612"/>
                          </a:lnTo>
                          <a:lnTo>
                            <a:pt x="1216" y="612"/>
                          </a:lnTo>
                          <a:lnTo>
                            <a:pt x="1207" y="612"/>
                          </a:lnTo>
                          <a:lnTo>
                            <a:pt x="1207" y="612"/>
                          </a:lnTo>
                          <a:lnTo>
                            <a:pt x="1198" y="610"/>
                          </a:lnTo>
                          <a:lnTo>
                            <a:pt x="1198" y="610"/>
                          </a:lnTo>
                          <a:lnTo>
                            <a:pt x="1195" y="610"/>
                          </a:lnTo>
                          <a:lnTo>
                            <a:pt x="1195" y="610"/>
                          </a:lnTo>
                          <a:lnTo>
                            <a:pt x="1193" y="610"/>
                          </a:lnTo>
                          <a:lnTo>
                            <a:pt x="1193" y="610"/>
                          </a:lnTo>
                          <a:lnTo>
                            <a:pt x="1190" y="612"/>
                          </a:lnTo>
                          <a:lnTo>
                            <a:pt x="1190" y="612"/>
                          </a:lnTo>
                          <a:lnTo>
                            <a:pt x="1188" y="612"/>
                          </a:lnTo>
                          <a:lnTo>
                            <a:pt x="1188" y="612"/>
                          </a:lnTo>
                          <a:lnTo>
                            <a:pt x="1176" y="615"/>
                          </a:lnTo>
                          <a:lnTo>
                            <a:pt x="1176" y="615"/>
                          </a:lnTo>
                          <a:lnTo>
                            <a:pt x="1174" y="615"/>
                          </a:lnTo>
                          <a:lnTo>
                            <a:pt x="1174" y="615"/>
                          </a:lnTo>
                          <a:lnTo>
                            <a:pt x="1169" y="615"/>
                          </a:lnTo>
                          <a:lnTo>
                            <a:pt x="1169" y="615"/>
                          </a:lnTo>
                          <a:lnTo>
                            <a:pt x="1162" y="617"/>
                          </a:lnTo>
                          <a:lnTo>
                            <a:pt x="1162" y="617"/>
                          </a:lnTo>
                          <a:lnTo>
                            <a:pt x="1157" y="622"/>
                          </a:lnTo>
                          <a:lnTo>
                            <a:pt x="1157" y="622"/>
                          </a:lnTo>
                          <a:lnTo>
                            <a:pt x="1148" y="624"/>
                          </a:lnTo>
                          <a:lnTo>
                            <a:pt x="1148" y="624"/>
                          </a:lnTo>
                          <a:lnTo>
                            <a:pt x="1148" y="624"/>
                          </a:lnTo>
                          <a:lnTo>
                            <a:pt x="1148" y="624"/>
                          </a:lnTo>
                          <a:lnTo>
                            <a:pt x="1129" y="624"/>
                          </a:lnTo>
                          <a:lnTo>
                            <a:pt x="1129" y="624"/>
                          </a:lnTo>
                          <a:lnTo>
                            <a:pt x="1117" y="619"/>
                          </a:lnTo>
                          <a:lnTo>
                            <a:pt x="1117" y="619"/>
                          </a:lnTo>
                          <a:lnTo>
                            <a:pt x="1113" y="622"/>
                          </a:lnTo>
                          <a:lnTo>
                            <a:pt x="1113" y="622"/>
                          </a:lnTo>
                          <a:lnTo>
                            <a:pt x="1110" y="622"/>
                          </a:lnTo>
                          <a:lnTo>
                            <a:pt x="1110" y="622"/>
                          </a:lnTo>
                          <a:lnTo>
                            <a:pt x="1108" y="619"/>
                          </a:lnTo>
                          <a:lnTo>
                            <a:pt x="1108" y="619"/>
                          </a:lnTo>
                          <a:lnTo>
                            <a:pt x="1105" y="619"/>
                          </a:lnTo>
                          <a:lnTo>
                            <a:pt x="1105" y="619"/>
                          </a:lnTo>
                          <a:lnTo>
                            <a:pt x="1103" y="619"/>
                          </a:lnTo>
                          <a:lnTo>
                            <a:pt x="1103" y="619"/>
                          </a:lnTo>
                          <a:lnTo>
                            <a:pt x="1098" y="622"/>
                          </a:lnTo>
                          <a:lnTo>
                            <a:pt x="1098" y="622"/>
                          </a:lnTo>
                          <a:lnTo>
                            <a:pt x="1098" y="624"/>
                          </a:lnTo>
                          <a:lnTo>
                            <a:pt x="1098" y="624"/>
                          </a:lnTo>
                          <a:lnTo>
                            <a:pt x="1098" y="624"/>
                          </a:lnTo>
                          <a:lnTo>
                            <a:pt x="1098" y="624"/>
                          </a:lnTo>
                          <a:lnTo>
                            <a:pt x="1101" y="624"/>
                          </a:lnTo>
                          <a:lnTo>
                            <a:pt x="1101" y="624"/>
                          </a:lnTo>
                          <a:lnTo>
                            <a:pt x="1101" y="624"/>
                          </a:lnTo>
                          <a:lnTo>
                            <a:pt x="1101" y="624"/>
                          </a:lnTo>
                          <a:lnTo>
                            <a:pt x="1103" y="624"/>
                          </a:lnTo>
                          <a:lnTo>
                            <a:pt x="1103" y="624"/>
                          </a:lnTo>
                          <a:lnTo>
                            <a:pt x="1103" y="624"/>
                          </a:lnTo>
                          <a:lnTo>
                            <a:pt x="1103" y="624"/>
                          </a:lnTo>
                          <a:lnTo>
                            <a:pt x="1103" y="624"/>
                          </a:lnTo>
                          <a:lnTo>
                            <a:pt x="1103" y="624"/>
                          </a:lnTo>
                          <a:lnTo>
                            <a:pt x="1096" y="629"/>
                          </a:lnTo>
                          <a:lnTo>
                            <a:pt x="1096" y="629"/>
                          </a:lnTo>
                          <a:lnTo>
                            <a:pt x="1087" y="631"/>
                          </a:lnTo>
                          <a:lnTo>
                            <a:pt x="1087" y="631"/>
                          </a:lnTo>
                          <a:lnTo>
                            <a:pt x="1084" y="629"/>
                          </a:lnTo>
                          <a:lnTo>
                            <a:pt x="1084" y="629"/>
                          </a:lnTo>
                          <a:lnTo>
                            <a:pt x="1082" y="629"/>
                          </a:lnTo>
                          <a:lnTo>
                            <a:pt x="1082" y="629"/>
                          </a:lnTo>
                          <a:lnTo>
                            <a:pt x="1079" y="629"/>
                          </a:lnTo>
                          <a:lnTo>
                            <a:pt x="1079" y="629"/>
                          </a:lnTo>
                          <a:lnTo>
                            <a:pt x="1077" y="631"/>
                          </a:lnTo>
                          <a:lnTo>
                            <a:pt x="1077" y="631"/>
                          </a:lnTo>
                          <a:lnTo>
                            <a:pt x="1072" y="631"/>
                          </a:lnTo>
                          <a:lnTo>
                            <a:pt x="1072" y="631"/>
                          </a:lnTo>
                          <a:lnTo>
                            <a:pt x="1063" y="631"/>
                          </a:lnTo>
                          <a:lnTo>
                            <a:pt x="1063" y="631"/>
                          </a:lnTo>
                          <a:lnTo>
                            <a:pt x="1063" y="631"/>
                          </a:lnTo>
                          <a:lnTo>
                            <a:pt x="1063" y="631"/>
                          </a:lnTo>
                          <a:lnTo>
                            <a:pt x="1061" y="631"/>
                          </a:lnTo>
                          <a:lnTo>
                            <a:pt x="1061" y="631"/>
                          </a:lnTo>
                          <a:lnTo>
                            <a:pt x="1049" y="636"/>
                          </a:lnTo>
                          <a:lnTo>
                            <a:pt x="1049" y="636"/>
                          </a:lnTo>
                          <a:lnTo>
                            <a:pt x="1042" y="633"/>
                          </a:lnTo>
                          <a:lnTo>
                            <a:pt x="1042" y="633"/>
                          </a:lnTo>
                          <a:lnTo>
                            <a:pt x="1039" y="631"/>
                          </a:lnTo>
                          <a:lnTo>
                            <a:pt x="1039" y="631"/>
                          </a:lnTo>
                          <a:lnTo>
                            <a:pt x="1042" y="629"/>
                          </a:lnTo>
                          <a:lnTo>
                            <a:pt x="1042" y="629"/>
                          </a:lnTo>
                          <a:lnTo>
                            <a:pt x="1039" y="629"/>
                          </a:lnTo>
                          <a:lnTo>
                            <a:pt x="1039" y="629"/>
                          </a:lnTo>
                          <a:lnTo>
                            <a:pt x="1039" y="626"/>
                          </a:lnTo>
                          <a:lnTo>
                            <a:pt x="1039" y="626"/>
                          </a:lnTo>
                          <a:lnTo>
                            <a:pt x="1039" y="624"/>
                          </a:lnTo>
                          <a:lnTo>
                            <a:pt x="1039" y="624"/>
                          </a:lnTo>
                          <a:lnTo>
                            <a:pt x="1044" y="617"/>
                          </a:lnTo>
                          <a:lnTo>
                            <a:pt x="1044" y="617"/>
                          </a:lnTo>
                          <a:lnTo>
                            <a:pt x="1053" y="605"/>
                          </a:lnTo>
                          <a:lnTo>
                            <a:pt x="1053" y="605"/>
                          </a:lnTo>
                          <a:lnTo>
                            <a:pt x="1058" y="598"/>
                          </a:lnTo>
                          <a:lnTo>
                            <a:pt x="1058" y="598"/>
                          </a:lnTo>
                          <a:lnTo>
                            <a:pt x="1061" y="593"/>
                          </a:lnTo>
                          <a:lnTo>
                            <a:pt x="1061" y="593"/>
                          </a:lnTo>
                          <a:lnTo>
                            <a:pt x="1065" y="589"/>
                          </a:lnTo>
                          <a:lnTo>
                            <a:pt x="1065" y="589"/>
                          </a:lnTo>
                          <a:lnTo>
                            <a:pt x="1068" y="586"/>
                          </a:lnTo>
                          <a:lnTo>
                            <a:pt x="1068" y="586"/>
                          </a:lnTo>
                          <a:lnTo>
                            <a:pt x="1075" y="584"/>
                          </a:lnTo>
                          <a:lnTo>
                            <a:pt x="1075" y="584"/>
                          </a:lnTo>
                          <a:lnTo>
                            <a:pt x="1082" y="572"/>
                          </a:lnTo>
                          <a:lnTo>
                            <a:pt x="1082" y="572"/>
                          </a:lnTo>
                          <a:lnTo>
                            <a:pt x="1089" y="565"/>
                          </a:lnTo>
                          <a:lnTo>
                            <a:pt x="1089" y="565"/>
                          </a:lnTo>
                          <a:lnTo>
                            <a:pt x="1091" y="563"/>
                          </a:lnTo>
                          <a:lnTo>
                            <a:pt x="1091" y="563"/>
                          </a:lnTo>
                          <a:lnTo>
                            <a:pt x="1101" y="560"/>
                          </a:lnTo>
                          <a:lnTo>
                            <a:pt x="1101" y="560"/>
                          </a:lnTo>
                          <a:lnTo>
                            <a:pt x="1105" y="558"/>
                          </a:lnTo>
                          <a:lnTo>
                            <a:pt x="1105" y="558"/>
                          </a:lnTo>
                          <a:lnTo>
                            <a:pt x="1120" y="548"/>
                          </a:lnTo>
                          <a:lnTo>
                            <a:pt x="1120" y="548"/>
                          </a:lnTo>
                          <a:lnTo>
                            <a:pt x="1122" y="548"/>
                          </a:lnTo>
                          <a:lnTo>
                            <a:pt x="1122" y="548"/>
                          </a:lnTo>
                          <a:lnTo>
                            <a:pt x="1129" y="534"/>
                          </a:lnTo>
                          <a:lnTo>
                            <a:pt x="1129" y="534"/>
                          </a:lnTo>
                          <a:lnTo>
                            <a:pt x="1134" y="520"/>
                          </a:lnTo>
                          <a:lnTo>
                            <a:pt x="1134" y="520"/>
                          </a:lnTo>
                          <a:lnTo>
                            <a:pt x="1136" y="518"/>
                          </a:lnTo>
                          <a:lnTo>
                            <a:pt x="1136" y="518"/>
                          </a:lnTo>
                          <a:lnTo>
                            <a:pt x="1136" y="515"/>
                          </a:lnTo>
                          <a:lnTo>
                            <a:pt x="1136" y="515"/>
                          </a:lnTo>
                          <a:lnTo>
                            <a:pt x="1131" y="504"/>
                          </a:lnTo>
                          <a:lnTo>
                            <a:pt x="1131" y="504"/>
                          </a:lnTo>
                          <a:lnTo>
                            <a:pt x="1127" y="501"/>
                          </a:lnTo>
                          <a:lnTo>
                            <a:pt x="1127" y="501"/>
                          </a:lnTo>
                          <a:lnTo>
                            <a:pt x="1122" y="501"/>
                          </a:lnTo>
                          <a:lnTo>
                            <a:pt x="1122" y="501"/>
                          </a:lnTo>
                          <a:lnTo>
                            <a:pt x="1120" y="504"/>
                          </a:lnTo>
                          <a:lnTo>
                            <a:pt x="1120" y="504"/>
                          </a:lnTo>
                          <a:lnTo>
                            <a:pt x="1120" y="501"/>
                          </a:lnTo>
                          <a:lnTo>
                            <a:pt x="1120" y="501"/>
                          </a:lnTo>
                          <a:lnTo>
                            <a:pt x="1113" y="499"/>
                          </a:lnTo>
                          <a:lnTo>
                            <a:pt x="1113" y="499"/>
                          </a:lnTo>
                          <a:lnTo>
                            <a:pt x="1110" y="494"/>
                          </a:lnTo>
                          <a:lnTo>
                            <a:pt x="1110" y="494"/>
                          </a:lnTo>
                          <a:lnTo>
                            <a:pt x="1113" y="492"/>
                          </a:lnTo>
                          <a:lnTo>
                            <a:pt x="1113" y="492"/>
                          </a:lnTo>
                          <a:lnTo>
                            <a:pt x="1113" y="489"/>
                          </a:lnTo>
                          <a:lnTo>
                            <a:pt x="1113" y="489"/>
                          </a:lnTo>
                          <a:lnTo>
                            <a:pt x="1115" y="489"/>
                          </a:lnTo>
                          <a:lnTo>
                            <a:pt x="1115" y="489"/>
                          </a:lnTo>
                          <a:lnTo>
                            <a:pt x="1117" y="487"/>
                          </a:lnTo>
                          <a:lnTo>
                            <a:pt x="1117" y="487"/>
                          </a:lnTo>
                          <a:lnTo>
                            <a:pt x="1117" y="485"/>
                          </a:lnTo>
                          <a:lnTo>
                            <a:pt x="1117" y="485"/>
                          </a:lnTo>
                          <a:lnTo>
                            <a:pt x="1117" y="482"/>
                          </a:lnTo>
                          <a:lnTo>
                            <a:pt x="1117" y="482"/>
                          </a:lnTo>
                          <a:lnTo>
                            <a:pt x="1117" y="482"/>
                          </a:lnTo>
                          <a:lnTo>
                            <a:pt x="1117" y="482"/>
                          </a:lnTo>
                          <a:lnTo>
                            <a:pt x="1113" y="478"/>
                          </a:lnTo>
                          <a:lnTo>
                            <a:pt x="1113" y="478"/>
                          </a:lnTo>
                          <a:lnTo>
                            <a:pt x="1110" y="478"/>
                          </a:lnTo>
                          <a:lnTo>
                            <a:pt x="1110" y="478"/>
                          </a:lnTo>
                          <a:lnTo>
                            <a:pt x="1105" y="478"/>
                          </a:lnTo>
                          <a:lnTo>
                            <a:pt x="1105" y="478"/>
                          </a:lnTo>
                          <a:lnTo>
                            <a:pt x="1105" y="473"/>
                          </a:lnTo>
                          <a:lnTo>
                            <a:pt x="1105" y="473"/>
                          </a:lnTo>
                          <a:lnTo>
                            <a:pt x="1101" y="468"/>
                          </a:lnTo>
                          <a:lnTo>
                            <a:pt x="1101" y="468"/>
                          </a:lnTo>
                          <a:lnTo>
                            <a:pt x="1101" y="468"/>
                          </a:lnTo>
                          <a:lnTo>
                            <a:pt x="1101" y="468"/>
                          </a:lnTo>
                          <a:lnTo>
                            <a:pt x="1096" y="466"/>
                          </a:lnTo>
                          <a:lnTo>
                            <a:pt x="1096" y="466"/>
                          </a:lnTo>
                          <a:lnTo>
                            <a:pt x="1094" y="466"/>
                          </a:lnTo>
                          <a:lnTo>
                            <a:pt x="1094" y="466"/>
                          </a:lnTo>
                          <a:lnTo>
                            <a:pt x="1084" y="473"/>
                          </a:lnTo>
                          <a:lnTo>
                            <a:pt x="1084" y="473"/>
                          </a:lnTo>
                          <a:lnTo>
                            <a:pt x="1079" y="475"/>
                          </a:lnTo>
                          <a:lnTo>
                            <a:pt x="1079" y="475"/>
                          </a:lnTo>
                          <a:lnTo>
                            <a:pt x="1077" y="475"/>
                          </a:lnTo>
                          <a:lnTo>
                            <a:pt x="1077" y="475"/>
                          </a:lnTo>
                          <a:lnTo>
                            <a:pt x="1075" y="475"/>
                          </a:lnTo>
                          <a:lnTo>
                            <a:pt x="1075" y="475"/>
                          </a:lnTo>
                          <a:lnTo>
                            <a:pt x="1070" y="473"/>
                          </a:lnTo>
                          <a:lnTo>
                            <a:pt x="1070" y="473"/>
                          </a:lnTo>
                          <a:lnTo>
                            <a:pt x="1065" y="470"/>
                          </a:lnTo>
                          <a:lnTo>
                            <a:pt x="1065" y="470"/>
                          </a:lnTo>
                          <a:lnTo>
                            <a:pt x="1063" y="470"/>
                          </a:lnTo>
                          <a:lnTo>
                            <a:pt x="1063" y="470"/>
                          </a:lnTo>
                          <a:lnTo>
                            <a:pt x="1053" y="473"/>
                          </a:lnTo>
                          <a:lnTo>
                            <a:pt x="1053" y="473"/>
                          </a:lnTo>
                          <a:lnTo>
                            <a:pt x="1046" y="473"/>
                          </a:lnTo>
                          <a:lnTo>
                            <a:pt x="1046" y="473"/>
                          </a:lnTo>
                          <a:lnTo>
                            <a:pt x="1037" y="470"/>
                          </a:lnTo>
                          <a:lnTo>
                            <a:pt x="1037" y="470"/>
                          </a:lnTo>
                          <a:lnTo>
                            <a:pt x="1025" y="466"/>
                          </a:lnTo>
                          <a:lnTo>
                            <a:pt x="1025" y="466"/>
                          </a:lnTo>
                          <a:lnTo>
                            <a:pt x="1018" y="466"/>
                          </a:lnTo>
                          <a:lnTo>
                            <a:pt x="1018" y="466"/>
                          </a:lnTo>
                          <a:lnTo>
                            <a:pt x="1018" y="466"/>
                          </a:lnTo>
                          <a:lnTo>
                            <a:pt x="1018" y="466"/>
                          </a:lnTo>
                          <a:lnTo>
                            <a:pt x="1016" y="466"/>
                          </a:lnTo>
                          <a:lnTo>
                            <a:pt x="1016" y="466"/>
                          </a:lnTo>
                          <a:lnTo>
                            <a:pt x="1016" y="466"/>
                          </a:lnTo>
                          <a:lnTo>
                            <a:pt x="1016" y="466"/>
                          </a:lnTo>
                          <a:lnTo>
                            <a:pt x="1009" y="470"/>
                          </a:lnTo>
                          <a:lnTo>
                            <a:pt x="1009" y="470"/>
                          </a:lnTo>
                          <a:lnTo>
                            <a:pt x="1001" y="470"/>
                          </a:lnTo>
                          <a:lnTo>
                            <a:pt x="1001" y="470"/>
                          </a:lnTo>
                          <a:lnTo>
                            <a:pt x="997" y="470"/>
                          </a:lnTo>
                          <a:lnTo>
                            <a:pt x="997" y="470"/>
                          </a:lnTo>
                          <a:lnTo>
                            <a:pt x="997" y="470"/>
                          </a:lnTo>
                          <a:lnTo>
                            <a:pt x="997" y="470"/>
                          </a:lnTo>
                          <a:lnTo>
                            <a:pt x="983" y="459"/>
                          </a:lnTo>
                          <a:lnTo>
                            <a:pt x="983" y="459"/>
                          </a:lnTo>
                          <a:lnTo>
                            <a:pt x="983" y="459"/>
                          </a:lnTo>
                          <a:lnTo>
                            <a:pt x="983" y="459"/>
                          </a:lnTo>
                          <a:lnTo>
                            <a:pt x="980" y="449"/>
                          </a:lnTo>
                          <a:lnTo>
                            <a:pt x="980" y="449"/>
                          </a:lnTo>
                          <a:lnTo>
                            <a:pt x="978" y="449"/>
                          </a:lnTo>
                          <a:lnTo>
                            <a:pt x="978" y="449"/>
                          </a:lnTo>
                          <a:lnTo>
                            <a:pt x="973" y="442"/>
                          </a:lnTo>
                          <a:lnTo>
                            <a:pt x="973" y="442"/>
                          </a:lnTo>
                          <a:lnTo>
                            <a:pt x="971" y="442"/>
                          </a:lnTo>
                          <a:lnTo>
                            <a:pt x="971" y="442"/>
                          </a:lnTo>
                          <a:lnTo>
                            <a:pt x="968" y="440"/>
                          </a:lnTo>
                          <a:lnTo>
                            <a:pt x="968" y="440"/>
                          </a:lnTo>
                          <a:lnTo>
                            <a:pt x="966" y="435"/>
                          </a:lnTo>
                          <a:lnTo>
                            <a:pt x="966" y="435"/>
                          </a:lnTo>
                          <a:lnTo>
                            <a:pt x="964" y="433"/>
                          </a:lnTo>
                          <a:lnTo>
                            <a:pt x="964" y="433"/>
                          </a:lnTo>
                          <a:lnTo>
                            <a:pt x="945" y="416"/>
                          </a:lnTo>
                          <a:lnTo>
                            <a:pt x="945" y="416"/>
                          </a:lnTo>
                          <a:lnTo>
                            <a:pt x="933" y="407"/>
                          </a:lnTo>
                          <a:lnTo>
                            <a:pt x="933" y="407"/>
                          </a:lnTo>
                          <a:lnTo>
                            <a:pt x="931" y="402"/>
                          </a:lnTo>
                          <a:lnTo>
                            <a:pt x="931" y="402"/>
                          </a:lnTo>
                          <a:lnTo>
                            <a:pt x="931" y="400"/>
                          </a:lnTo>
                          <a:lnTo>
                            <a:pt x="931" y="400"/>
                          </a:lnTo>
                          <a:lnTo>
                            <a:pt x="933" y="395"/>
                          </a:lnTo>
                          <a:lnTo>
                            <a:pt x="933" y="395"/>
                          </a:lnTo>
                          <a:lnTo>
                            <a:pt x="931" y="388"/>
                          </a:lnTo>
                          <a:lnTo>
                            <a:pt x="931" y="388"/>
                          </a:lnTo>
                          <a:lnTo>
                            <a:pt x="926" y="357"/>
                          </a:lnTo>
                          <a:lnTo>
                            <a:pt x="926" y="357"/>
                          </a:lnTo>
                          <a:lnTo>
                            <a:pt x="924" y="343"/>
                          </a:lnTo>
                          <a:lnTo>
                            <a:pt x="924" y="343"/>
                          </a:lnTo>
                          <a:lnTo>
                            <a:pt x="916" y="322"/>
                          </a:lnTo>
                          <a:lnTo>
                            <a:pt x="916" y="322"/>
                          </a:lnTo>
                          <a:lnTo>
                            <a:pt x="902" y="303"/>
                          </a:lnTo>
                          <a:lnTo>
                            <a:pt x="902" y="303"/>
                          </a:lnTo>
                          <a:lnTo>
                            <a:pt x="902" y="303"/>
                          </a:lnTo>
                          <a:lnTo>
                            <a:pt x="902" y="303"/>
                          </a:lnTo>
                          <a:lnTo>
                            <a:pt x="902" y="298"/>
                          </a:lnTo>
                          <a:lnTo>
                            <a:pt x="902" y="298"/>
                          </a:lnTo>
                          <a:lnTo>
                            <a:pt x="898" y="296"/>
                          </a:lnTo>
                          <a:lnTo>
                            <a:pt x="898" y="296"/>
                          </a:lnTo>
                          <a:lnTo>
                            <a:pt x="895" y="293"/>
                          </a:lnTo>
                          <a:lnTo>
                            <a:pt x="895" y="293"/>
                          </a:lnTo>
                          <a:lnTo>
                            <a:pt x="895" y="293"/>
                          </a:lnTo>
                          <a:lnTo>
                            <a:pt x="895" y="293"/>
                          </a:lnTo>
                          <a:lnTo>
                            <a:pt x="881" y="296"/>
                          </a:lnTo>
                          <a:lnTo>
                            <a:pt x="881" y="296"/>
                          </a:lnTo>
                          <a:lnTo>
                            <a:pt x="876" y="298"/>
                          </a:lnTo>
                          <a:lnTo>
                            <a:pt x="876" y="298"/>
                          </a:lnTo>
                          <a:lnTo>
                            <a:pt x="874" y="300"/>
                          </a:lnTo>
                          <a:lnTo>
                            <a:pt x="874" y="300"/>
                          </a:lnTo>
                          <a:lnTo>
                            <a:pt x="872" y="300"/>
                          </a:lnTo>
                          <a:lnTo>
                            <a:pt x="872" y="300"/>
                          </a:lnTo>
                          <a:lnTo>
                            <a:pt x="867" y="300"/>
                          </a:lnTo>
                          <a:lnTo>
                            <a:pt x="867" y="300"/>
                          </a:lnTo>
                          <a:lnTo>
                            <a:pt x="850" y="303"/>
                          </a:lnTo>
                          <a:lnTo>
                            <a:pt x="850" y="303"/>
                          </a:lnTo>
                          <a:lnTo>
                            <a:pt x="848" y="303"/>
                          </a:lnTo>
                          <a:lnTo>
                            <a:pt x="848" y="303"/>
                          </a:lnTo>
                          <a:lnTo>
                            <a:pt x="846" y="305"/>
                          </a:lnTo>
                          <a:lnTo>
                            <a:pt x="846" y="305"/>
                          </a:lnTo>
                          <a:lnTo>
                            <a:pt x="841" y="307"/>
                          </a:lnTo>
                          <a:lnTo>
                            <a:pt x="841" y="307"/>
                          </a:lnTo>
                          <a:lnTo>
                            <a:pt x="834" y="310"/>
                          </a:lnTo>
                          <a:lnTo>
                            <a:pt x="834" y="310"/>
                          </a:lnTo>
                          <a:lnTo>
                            <a:pt x="829" y="312"/>
                          </a:lnTo>
                          <a:lnTo>
                            <a:pt x="829" y="312"/>
                          </a:lnTo>
                          <a:lnTo>
                            <a:pt x="827" y="312"/>
                          </a:lnTo>
                          <a:lnTo>
                            <a:pt x="827" y="312"/>
                          </a:lnTo>
                          <a:lnTo>
                            <a:pt x="817" y="307"/>
                          </a:lnTo>
                          <a:lnTo>
                            <a:pt x="817" y="307"/>
                          </a:lnTo>
                          <a:lnTo>
                            <a:pt x="815" y="307"/>
                          </a:lnTo>
                          <a:lnTo>
                            <a:pt x="815" y="307"/>
                          </a:lnTo>
                          <a:lnTo>
                            <a:pt x="805" y="300"/>
                          </a:lnTo>
                          <a:lnTo>
                            <a:pt x="805" y="300"/>
                          </a:lnTo>
                          <a:lnTo>
                            <a:pt x="803" y="300"/>
                          </a:lnTo>
                          <a:lnTo>
                            <a:pt x="803" y="300"/>
                          </a:lnTo>
                          <a:lnTo>
                            <a:pt x="801" y="303"/>
                          </a:lnTo>
                          <a:lnTo>
                            <a:pt x="801" y="303"/>
                          </a:lnTo>
                          <a:lnTo>
                            <a:pt x="801" y="303"/>
                          </a:lnTo>
                          <a:lnTo>
                            <a:pt x="801" y="303"/>
                          </a:lnTo>
                          <a:lnTo>
                            <a:pt x="794" y="303"/>
                          </a:lnTo>
                          <a:lnTo>
                            <a:pt x="794" y="303"/>
                          </a:lnTo>
                          <a:lnTo>
                            <a:pt x="791" y="300"/>
                          </a:lnTo>
                          <a:lnTo>
                            <a:pt x="791" y="300"/>
                          </a:lnTo>
                          <a:lnTo>
                            <a:pt x="787" y="293"/>
                          </a:lnTo>
                          <a:lnTo>
                            <a:pt x="787" y="293"/>
                          </a:lnTo>
                          <a:lnTo>
                            <a:pt x="779" y="293"/>
                          </a:lnTo>
                          <a:lnTo>
                            <a:pt x="779" y="293"/>
                          </a:lnTo>
                          <a:lnTo>
                            <a:pt x="772" y="289"/>
                          </a:lnTo>
                          <a:lnTo>
                            <a:pt x="772" y="289"/>
                          </a:lnTo>
                          <a:lnTo>
                            <a:pt x="770" y="286"/>
                          </a:lnTo>
                          <a:lnTo>
                            <a:pt x="770" y="286"/>
                          </a:lnTo>
                          <a:lnTo>
                            <a:pt x="768" y="284"/>
                          </a:lnTo>
                          <a:lnTo>
                            <a:pt x="768" y="284"/>
                          </a:lnTo>
                          <a:lnTo>
                            <a:pt x="765" y="284"/>
                          </a:lnTo>
                          <a:lnTo>
                            <a:pt x="765" y="284"/>
                          </a:lnTo>
                          <a:lnTo>
                            <a:pt x="763" y="284"/>
                          </a:lnTo>
                          <a:lnTo>
                            <a:pt x="763" y="284"/>
                          </a:lnTo>
                          <a:lnTo>
                            <a:pt x="761" y="284"/>
                          </a:lnTo>
                          <a:lnTo>
                            <a:pt x="761" y="284"/>
                          </a:lnTo>
                          <a:lnTo>
                            <a:pt x="761" y="284"/>
                          </a:lnTo>
                          <a:lnTo>
                            <a:pt x="761" y="284"/>
                          </a:lnTo>
                          <a:lnTo>
                            <a:pt x="758" y="286"/>
                          </a:lnTo>
                          <a:lnTo>
                            <a:pt x="758" y="286"/>
                          </a:lnTo>
                          <a:lnTo>
                            <a:pt x="751" y="284"/>
                          </a:lnTo>
                          <a:lnTo>
                            <a:pt x="751" y="284"/>
                          </a:lnTo>
                          <a:lnTo>
                            <a:pt x="749" y="279"/>
                          </a:lnTo>
                          <a:lnTo>
                            <a:pt x="749" y="279"/>
                          </a:lnTo>
                          <a:lnTo>
                            <a:pt x="749" y="279"/>
                          </a:lnTo>
                          <a:lnTo>
                            <a:pt x="749" y="279"/>
                          </a:lnTo>
                          <a:lnTo>
                            <a:pt x="749" y="279"/>
                          </a:lnTo>
                          <a:lnTo>
                            <a:pt x="749" y="279"/>
                          </a:lnTo>
                          <a:lnTo>
                            <a:pt x="742" y="279"/>
                          </a:lnTo>
                          <a:lnTo>
                            <a:pt x="742" y="279"/>
                          </a:lnTo>
                          <a:lnTo>
                            <a:pt x="739" y="281"/>
                          </a:lnTo>
                          <a:lnTo>
                            <a:pt x="739" y="281"/>
                          </a:lnTo>
                          <a:lnTo>
                            <a:pt x="739" y="284"/>
                          </a:lnTo>
                          <a:lnTo>
                            <a:pt x="739" y="284"/>
                          </a:lnTo>
                          <a:lnTo>
                            <a:pt x="730" y="284"/>
                          </a:lnTo>
                          <a:lnTo>
                            <a:pt x="730" y="284"/>
                          </a:lnTo>
                          <a:lnTo>
                            <a:pt x="730" y="281"/>
                          </a:lnTo>
                          <a:lnTo>
                            <a:pt x="730" y="281"/>
                          </a:lnTo>
                          <a:lnTo>
                            <a:pt x="730" y="281"/>
                          </a:lnTo>
                          <a:lnTo>
                            <a:pt x="730" y="281"/>
                          </a:lnTo>
                          <a:lnTo>
                            <a:pt x="732" y="279"/>
                          </a:lnTo>
                          <a:lnTo>
                            <a:pt x="732" y="279"/>
                          </a:lnTo>
                          <a:lnTo>
                            <a:pt x="732" y="277"/>
                          </a:lnTo>
                          <a:lnTo>
                            <a:pt x="732" y="277"/>
                          </a:lnTo>
                          <a:lnTo>
                            <a:pt x="730" y="270"/>
                          </a:lnTo>
                          <a:lnTo>
                            <a:pt x="730" y="270"/>
                          </a:lnTo>
                          <a:lnTo>
                            <a:pt x="730" y="270"/>
                          </a:lnTo>
                          <a:lnTo>
                            <a:pt x="730" y="270"/>
                          </a:lnTo>
                          <a:lnTo>
                            <a:pt x="727" y="270"/>
                          </a:lnTo>
                          <a:lnTo>
                            <a:pt x="727" y="270"/>
                          </a:lnTo>
                          <a:lnTo>
                            <a:pt x="727" y="272"/>
                          </a:lnTo>
                          <a:lnTo>
                            <a:pt x="727" y="272"/>
                          </a:lnTo>
                          <a:lnTo>
                            <a:pt x="725" y="274"/>
                          </a:lnTo>
                          <a:lnTo>
                            <a:pt x="725" y="274"/>
                          </a:lnTo>
                          <a:lnTo>
                            <a:pt x="723" y="274"/>
                          </a:lnTo>
                          <a:lnTo>
                            <a:pt x="723" y="274"/>
                          </a:lnTo>
                          <a:lnTo>
                            <a:pt x="716" y="272"/>
                          </a:lnTo>
                          <a:lnTo>
                            <a:pt x="716" y="272"/>
                          </a:lnTo>
                          <a:lnTo>
                            <a:pt x="716" y="272"/>
                          </a:lnTo>
                          <a:lnTo>
                            <a:pt x="716" y="272"/>
                          </a:lnTo>
                          <a:lnTo>
                            <a:pt x="716" y="274"/>
                          </a:lnTo>
                          <a:lnTo>
                            <a:pt x="716" y="274"/>
                          </a:lnTo>
                          <a:lnTo>
                            <a:pt x="716" y="274"/>
                          </a:lnTo>
                          <a:lnTo>
                            <a:pt x="716" y="274"/>
                          </a:lnTo>
                          <a:lnTo>
                            <a:pt x="718" y="274"/>
                          </a:lnTo>
                          <a:lnTo>
                            <a:pt x="718" y="274"/>
                          </a:lnTo>
                          <a:lnTo>
                            <a:pt x="718" y="277"/>
                          </a:lnTo>
                          <a:lnTo>
                            <a:pt x="718" y="277"/>
                          </a:lnTo>
                          <a:lnTo>
                            <a:pt x="718" y="277"/>
                          </a:lnTo>
                          <a:lnTo>
                            <a:pt x="718" y="277"/>
                          </a:lnTo>
                          <a:lnTo>
                            <a:pt x="716" y="277"/>
                          </a:lnTo>
                          <a:lnTo>
                            <a:pt x="716" y="277"/>
                          </a:lnTo>
                          <a:lnTo>
                            <a:pt x="711" y="274"/>
                          </a:lnTo>
                          <a:lnTo>
                            <a:pt x="711" y="274"/>
                          </a:lnTo>
                          <a:lnTo>
                            <a:pt x="711" y="272"/>
                          </a:lnTo>
                          <a:lnTo>
                            <a:pt x="711" y="272"/>
                          </a:lnTo>
                          <a:lnTo>
                            <a:pt x="709" y="267"/>
                          </a:lnTo>
                          <a:lnTo>
                            <a:pt x="709" y="267"/>
                          </a:lnTo>
                          <a:lnTo>
                            <a:pt x="706" y="260"/>
                          </a:lnTo>
                          <a:lnTo>
                            <a:pt x="706" y="260"/>
                          </a:lnTo>
                          <a:lnTo>
                            <a:pt x="704" y="260"/>
                          </a:lnTo>
                          <a:lnTo>
                            <a:pt x="704" y="260"/>
                          </a:lnTo>
                          <a:lnTo>
                            <a:pt x="692" y="258"/>
                          </a:lnTo>
                          <a:lnTo>
                            <a:pt x="692" y="258"/>
                          </a:lnTo>
                          <a:lnTo>
                            <a:pt x="685" y="253"/>
                          </a:lnTo>
                          <a:lnTo>
                            <a:pt x="685" y="253"/>
                          </a:lnTo>
                          <a:lnTo>
                            <a:pt x="673" y="244"/>
                          </a:lnTo>
                          <a:lnTo>
                            <a:pt x="673" y="244"/>
                          </a:lnTo>
                          <a:lnTo>
                            <a:pt x="668" y="239"/>
                          </a:lnTo>
                          <a:lnTo>
                            <a:pt x="668" y="239"/>
                          </a:lnTo>
                          <a:lnTo>
                            <a:pt x="664" y="232"/>
                          </a:lnTo>
                          <a:lnTo>
                            <a:pt x="664" y="232"/>
                          </a:lnTo>
                          <a:lnTo>
                            <a:pt x="661" y="230"/>
                          </a:lnTo>
                          <a:lnTo>
                            <a:pt x="661" y="230"/>
                          </a:lnTo>
                          <a:lnTo>
                            <a:pt x="659" y="227"/>
                          </a:lnTo>
                          <a:lnTo>
                            <a:pt x="659" y="227"/>
                          </a:lnTo>
                          <a:lnTo>
                            <a:pt x="654" y="222"/>
                          </a:lnTo>
                          <a:lnTo>
                            <a:pt x="654" y="222"/>
                          </a:lnTo>
                          <a:lnTo>
                            <a:pt x="654" y="220"/>
                          </a:lnTo>
                          <a:lnTo>
                            <a:pt x="654" y="220"/>
                          </a:lnTo>
                          <a:lnTo>
                            <a:pt x="654" y="220"/>
                          </a:lnTo>
                          <a:lnTo>
                            <a:pt x="654" y="220"/>
                          </a:lnTo>
                          <a:lnTo>
                            <a:pt x="654" y="220"/>
                          </a:lnTo>
                          <a:lnTo>
                            <a:pt x="654" y="220"/>
                          </a:lnTo>
                          <a:lnTo>
                            <a:pt x="652" y="218"/>
                          </a:lnTo>
                          <a:lnTo>
                            <a:pt x="652" y="218"/>
                          </a:lnTo>
                          <a:lnTo>
                            <a:pt x="640" y="213"/>
                          </a:lnTo>
                          <a:lnTo>
                            <a:pt x="640" y="213"/>
                          </a:lnTo>
                          <a:lnTo>
                            <a:pt x="635" y="213"/>
                          </a:lnTo>
                          <a:lnTo>
                            <a:pt x="635" y="213"/>
                          </a:lnTo>
                          <a:lnTo>
                            <a:pt x="624" y="215"/>
                          </a:lnTo>
                          <a:lnTo>
                            <a:pt x="624" y="215"/>
                          </a:lnTo>
                          <a:lnTo>
                            <a:pt x="616" y="213"/>
                          </a:lnTo>
                          <a:lnTo>
                            <a:pt x="616" y="213"/>
                          </a:lnTo>
                          <a:lnTo>
                            <a:pt x="605" y="213"/>
                          </a:lnTo>
                          <a:lnTo>
                            <a:pt x="605" y="213"/>
                          </a:lnTo>
                          <a:lnTo>
                            <a:pt x="600" y="213"/>
                          </a:lnTo>
                          <a:lnTo>
                            <a:pt x="600" y="213"/>
                          </a:lnTo>
                          <a:lnTo>
                            <a:pt x="595" y="215"/>
                          </a:lnTo>
                          <a:lnTo>
                            <a:pt x="595" y="215"/>
                          </a:lnTo>
                          <a:lnTo>
                            <a:pt x="588" y="218"/>
                          </a:lnTo>
                          <a:lnTo>
                            <a:pt x="588" y="218"/>
                          </a:lnTo>
                          <a:lnTo>
                            <a:pt x="586" y="218"/>
                          </a:lnTo>
                          <a:lnTo>
                            <a:pt x="586" y="218"/>
                          </a:lnTo>
                          <a:lnTo>
                            <a:pt x="581" y="215"/>
                          </a:lnTo>
                          <a:lnTo>
                            <a:pt x="581" y="215"/>
                          </a:lnTo>
                          <a:lnTo>
                            <a:pt x="572" y="215"/>
                          </a:lnTo>
                          <a:lnTo>
                            <a:pt x="572" y="215"/>
                          </a:lnTo>
                          <a:lnTo>
                            <a:pt x="562" y="211"/>
                          </a:lnTo>
                          <a:lnTo>
                            <a:pt x="562" y="211"/>
                          </a:lnTo>
                          <a:lnTo>
                            <a:pt x="557" y="208"/>
                          </a:lnTo>
                          <a:lnTo>
                            <a:pt x="557" y="208"/>
                          </a:lnTo>
                          <a:lnTo>
                            <a:pt x="555" y="206"/>
                          </a:lnTo>
                          <a:lnTo>
                            <a:pt x="555" y="206"/>
                          </a:lnTo>
                          <a:lnTo>
                            <a:pt x="553" y="204"/>
                          </a:lnTo>
                          <a:lnTo>
                            <a:pt x="553" y="204"/>
                          </a:lnTo>
                          <a:lnTo>
                            <a:pt x="550" y="196"/>
                          </a:lnTo>
                          <a:lnTo>
                            <a:pt x="550" y="196"/>
                          </a:lnTo>
                          <a:lnTo>
                            <a:pt x="548" y="189"/>
                          </a:lnTo>
                          <a:lnTo>
                            <a:pt x="548" y="189"/>
                          </a:lnTo>
                          <a:lnTo>
                            <a:pt x="548" y="182"/>
                          </a:lnTo>
                          <a:lnTo>
                            <a:pt x="548" y="182"/>
                          </a:lnTo>
                          <a:lnTo>
                            <a:pt x="546" y="173"/>
                          </a:lnTo>
                          <a:lnTo>
                            <a:pt x="546" y="173"/>
                          </a:lnTo>
                          <a:lnTo>
                            <a:pt x="543" y="170"/>
                          </a:lnTo>
                          <a:lnTo>
                            <a:pt x="543" y="170"/>
                          </a:lnTo>
                          <a:lnTo>
                            <a:pt x="539" y="170"/>
                          </a:lnTo>
                          <a:lnTo>
                            <a:pt x="539" y="170"/>
                          </a:lnTo>
                          <a:lnTo>
                            <a:pt x="539" y="173"/>
                          </a:lnTo>
                          <a:lnTo>
                            <a:pt x="539" y="173"/>
                          </a:lnTo>
                          <a:lnTo>
                            <a:pt x="539" y="173"/>
                          </a:lnTo>
                          <a:lnTo>
                            <a:pt x="539" y="173"/>
                          </a:lnTo>
                          <a:lnTo>
                            <a:pt x="539" y="175"/>
                          </a:lnTo>
                          <a:lnTo>
                            <a:pt x="539" y="175"/>
                          </a:lnTo>
                          <a:lnTo>
                            <a:pt x="539" y="178"/>
                          </a:lnTo>
                          <a:lnTo>
                            <a:pt x="539" y="178"/>
                          </a:lnTo>
                          <a:lnTo>
                            <a:pt x="541" y="185"/>
                          </a:lnTo>
                          <a:lnTo>
                            <a:pt x="541" y="185"/>
                          </a:lnTo>
                          <a:lnTo>
                            <a:pt x="541" y="199"/>
                          </a:lnTo>
                          <a:lnTo>
                            <a:pt x="541" y="199"/>
                          </a:lnTo>
                          <a:lnTo>
                            <a:pt x="541" y="206"/>
                          </a:lnTo>
                          <a:lnTo>
                            <a:pt x="541" y="206"/>
                          </a:lnTo>
                          <a:lnTo>
                            <a:pt x="541" y="208"/>
                          </a:lnTo>
                          <a:lnTo>
                            <a:pt x="541" y="208"/>
                          </a:lnTo>
                          <a:lnTo>
                            <a:pt x="541" y="211"/>
                          </a:lnTo>
                          <a:lnTo>
                            <a:pt x="541" y="211"/>
                          </a:lnTo>
                          <a:lnTo>
                            <a:pt x="539" y="213"/>
                          </a:lnTo>
                          <a:lnTo>
                            <a:pt x="539" y="213"/>
                          </a:lnTo>
                          <a:lnTo>
                            <a:pt x="539" y="215"/>
                          </a:lnTo>
                          <a:lnTo>
                            <a:pt x="539" y="215"/>
                          </a:lnTo>
                          <a:lnTo>
                            <a:pt x="536" y="213"/>
                          </a:lnTo>
                          <a:lnTo>
                            <a:pt x="536" y="213"/>
                          </a:lnTo>
                          <a:lnTo>
                            <a:pt x="536" y="213"/>
                          </a:lnTo>
                          <a:lnTo>
                            <a:pt x="536" y="213"/>
                          </a:lnTo>
                          <a:lnTo>
                            <a:pt x="539" y="211"/>
                          </a:lnTo>
                          <a:lnTo>
                            <a:pt x="539" y="211"/>
                          </a:lnTo>
                          <a:lnTo>
                            <a:pt x="539" y="211"/>
                          </a:lnTo>
                          <a:lnTo>
                            <a:pt x="539" y="211"/>
                          </a:lnTo>
                          <a:lnTo>
                            <a:pt x="541" y="206"/>
                          </a:lnTo>
                          <a:lnTo>
                            <a:pt x="541" y="206"/>
                          </a:lnTo>
                          <a:lnTo>
                            <a:pt x="539" y="206"/>
                          </a:lnTo>
                          <a:lnTo>
                            <a:pt x="539" y="206"/>
                          </a:lnTo>
                          <a:lnTo>
                            <a:pt x="536" y="196"/>
                          </a:lnTo>
                          <a:lnTo>
                            <a:pt x="536" y="196"/>
                          </a:lnTo>
                          <a:lnTo>
                            <a:pt x="534" y="196"/>
                          </a:lnTo>
                          <a:lnTo>
                            <a:pt x="534" y="196"/>
                          </a:lnTo>
                          <a:lnTo>
                            <a:pt x="529" y="199"/>
                          </a:lnTo>
                          <a:lnTo>
                            <a:pt x="529" y="199"/>
                          </a:lnTo>
                          <a:lnTo>
                            <a:pt x="529" y="201"/>
                          </a:lnTo>
                          <a:lnTo>
                            <a:pt x="529" y="201"/>
                          </a:lnTo>
                          <a:lnTo>
                            <a:pt x="529" y="204"/>
                          </a:lnTo>
                          <a:lnTo>
                            <a:pt x="529" y="204"/>
                          </a:lnTo>
                          <a:lnTo>
                            <a:pt x="529" y="204"/>
                          </a:lnTo>
                          <a:lnTo>
                            <a:pt x="529" y="204"/>
                          </a:lnTo>
                          <a:lnTo>
                            <a:pt x="531" y="206"/>
                          </a:lnTo>
                          <a:lnTo>
                            <a:pt x="531" y="206"/>
                          </a:lnTo>
                          <a:lnTo>
                            <a:pt x="529" y="206"/>
                          </a:lnTo>
                          <a:lnTo>
                            <a:pt x="529" y="206"/>
                          </a:lnTo>
                          <a:lnTo>
                            <a:pt x="527" y="206"/>
                          </a:lnTo>
                          <a:lnTo>
                            <a:pt x="527" y="206"/>
                          </a:lnTo>
                          <a:lnTo>
                            <a:pt x="520" y="208"/>
                          </a:lnTo>
                          <a:lnTo>
                            <a:pt x="520" y="208"/>
                          </a:lnTo>
                          <a:lnTo>
                            <a:pt x="517" y="208"/>
                          </a:lnTo>
                          <a:lnTo>
                            <a:pt x="517" y="208"/>
                          </a:lnTo>
                          <a:lnTo>
                            <a:pt x="515" y="204"/>
                          </a:lnTo>
                          <a:lnTo>
                            <a:pt x="515" y="204"/>
                          </a:lnTo>
                          <a:lnTo>
                            <a:pt x="515" y="201"/>
                          </a:lnTo>
                          <a:lnTo>
                            <a:pt x="515" y="201"/>
                          </a:lnTo>
                          <a:lnTo>
                            <a:pt x="513" y="196"/>
                          </a:lnTo>
                          <a:lnTo>
                            <a:pt x="513" y="196"/>
                          </a:lnTo>
                          <a:lnTo>
                            <a:pt x="513" y="192"/>
                          </a:lnTo>
                          <a:lnTo>
                            <a:pt x="513" y="192"/>
                          </a:lnTo>
                          <a:lnTo>
                            <a:pt x="510" y="189"/>
                          </a:lnTo>
                          <a:lnTo>
                            <a:pt x="510" y="189"/>
                          </a:lnTo>
                          <a:lnTo>
                            <a:pt x="510" y="189"/>
                          </a:lnTo>
                          <a:lnTo>
                            <a:pt x="510" y="189"/>
                          </a:lnTo>
                          <a:lnTo>
                            <a:pt x="498" y="187"/>
                          </a:lnTo>
                          <a:lnTo>
                            <a:pt x="498" y="187"/>
                          </a:lnTo>
                          <a:lnTo>
                            <a:pt x="494" y="187"/>
                          </a:lnTo>
                          <a:lnTo>
                            <a:pt x="494" y="187"/>
                          </a:lnTo>
                          <a:lnTo>
                            <a:pt x="487" y="189"/>
                          </a:lnTo>
                          <a:lnTo>
                            <a:pt x="487" y="189"/>
                          </a:lnTo>
                          <a:lnTo>
                            <a:pt x="477" y="185"/>
                          </a:lnTo>
                          <a:lnTo>
                            <a:pt x="477" y="185"/>
                          </a:lnTo>
                          <a:lnTo>
                            <a:pt x="472" y="187"/>
                          </a:lnTo>
                          <a:lnTo>
                            <a:pt x="472" y="187"/>
                          </a:lnTo>
                          <a:lnTo>
                            <a:pt x="461" y="187"/>
                          </a:lnTo>
                          <a:lnTo>
                            <a:pt x="461" y="187"/>
                          </a:lnTo>
                          <a:lnTo>
                            <a:pt x="458" y="189"/>
                          </a:lnTo>
                          <a:lnTo>
                            <a:pt x="458" y="189"/>
                          </a:lnTo>
                          <a:lnTo>
                            <a:pt x="453" y="192"/>
                          </a:lnTo>
                          <a:lnTo>
                            <a:pt x="453" y="192"/>
                          </a:lnTo>
                          <a:lnTo>
                            <a:pt x="449" y="187"/>
                          </a:lnTo>
                          <a:lnTo>
                            <a:pt x="449" y="187"/>
                          </a:lnTo>
                          <a:lnTo>
                            <a:pt x="446" y="187"/>
                          </a:lnTo>
                          <a:lnTo>
                            <a:pt x="446" y="187"/>
                          </a:lnTo>
                          <a:lnTo>
                            <a:pt x="446" y="185"/>
                          </a:lnTo>
                          <a:lnTo>
                            <a:pt x="446" y="185"/>
                          </a:lnTo>
                          <a:lnTo>
                            <a:pt x="446" y="182"/>
                          </a:lnTo>
                          <a:lnTo>
                            <a:pt x="446" y="182"/>
                          </a:lnTo>
                          <a:lnTo>
                            <a:pt x="446" y="182"/>
                          </a:lnTo>
                          <a:lnTo>
                            <a:pt x="446" y="182"/>
                          </a:lnTo>
                          <a:lnTo>
                            <a:pt x="446" y="182"/>
                          </a:lnTo>
                          <a:lnTo>
                            <a:pt x="446" y="182"/>
                          </a:lnTo>
                          <a:lnTo>
                            <a:pt x="449" y="180"/>
                          </a:lnTo>
                          <a:lnTo>
                            <a:pt x="449" y="180"/>
                          </a:lnTo>
                          <a:lnTo>
                            <a:pt x="446" y="178"/>
                          </a:lnTo>
                          <a:lnTo>
                            <a:pt x="446" y="178"/>
                          </a:lnTo>
                          <a:lnTo>
                            <a:pt x="444" y="175"/>
                          </a:lnTo>
                          <a:lnTo>
                            <a:pt x="444" y="175"/>
                          </a:lnTo>
                          <a:lnTo>
                            <a:pt x="442" y="175"/>
                          </a:lnTo>
                          <a:lnTo>
                            <a:pt x="442" y="175"/>
                          </a:lnTo>
                          <a:lnTo>
                            <a:pt x="439" y="175"/>
                          </a:lnTo>
                          <a:lnTo>
                            <a:pt x="439" y="175"/>
                          </a:lnTo>
                          <a:lnTo>
                            <a:pt x="432" y="173"/>
                          </a:lnTo>
                          <a:lnTo>
                            <a:pt x="432" y="173"/>
                          </a:lnTo>
                          <a:lnTo>
                            <a:pt x="430" y="170"/>
                          </a:lnTo>
                          <a:lnTo>
                            <a:pt x="430" y="170"/>
                          </a:lnTo>
                          <a:lnTo>
                            <a:pt x="427" y="170"/>
                          </a:lnTo>
                          <a:lnTo>
                            <a:pt x="427" y="170"/>
                          </a:lnTo>
                          <a:lnTo>
                            <a:pt x="420" y="163"/>
                          </a:lnTo>
                          <a:lnTo>
                            <a:pt x="420" y="163"/>
                          </a:lnTo>
                          <a:lnTo>
                            <a:pt x="418" y="161"/>
                          </a:lnTo>
                          <a:lnTo>
                            <a:pt x="418" y="161"/>
                          </a:lnTo>
                          <a:lnTo>
                            <a:pt x="411" y="161"/>
                          </a:lnTo>
                          <a:lnTo>
                            <a:pt x="411" y="161"/>
                          </a:lnTo>
                          <a:lnTo>
                            <a:pt x="406" y="156"/>
                          </a:lnTo>
                          <a:lnTo>
                            <a:pt x="406" y="156"/>
                          </a:lnTo>
                          <a:lnTo>
                            <a:pt x="402" y="149"/>
                          </a:lnTo>
                          <a:lnTo>
                            <a:pt x="402" y="149"/>
                          </a:lnTo>
                          <a:lnTo>
                            <a:pt x="402" y="149"/>
                          </a:lnTo>
                          <a:lnTo>
                            <a:pt x="402" y="149"/>
                          </a:lnTo>
                          <a:lnTo>
                            <a:pt x="404" y="147"/>
                          </a:lnTo>
                          <a:lnTo>
                            <a:pt x="404" y="147"/>
                          </a:lnTo>
                          <a:lnTo>
                            <a:pt x="406" y="142"/>
                          </a:lnTo>
                          <a:lnTo>
                            <a:pt x="406" y="142"/>
                          </a:lnTo>
                          <a:lnTo>
                            <a:pt x="418" y="144"/>
                          </a:lnTo>
                          <a:lnTo>
                            <a:pt x="418" y="144"/>
                          </a:lnTo>
                          <a:lnTo>
                            <a:pt x="437" y="142"/>
                          </a:lnTo>
                          <a:lnTo>
                            <a:pt x="437" y="142"/>
                          </a:lnTo>
                          <a:lnTo>
                            <a:pt x="439" y="142"/>
                          </a:lnTo>
                          <a:lnTo>
                            <a:pt x="439" y="142"/>
                          </a:lnTo>
                          <a:lnTo>
                            <a:pt x="442" y="142"/>
                          </a:lnTo>
                          <a:lnTo>
                            <a:pt x="442" y="142"/>
                          </a:lnTo>
                          <a:lnTo>
                            <a:pt x="446" y="144"/>
                          </a:lnTo>
                          <a:lnTo>
                            <a:pt x="446" y="144"/>
                          </a:lnTo>
                          <a:lnTo>
                            <a:pt x="451" y="142"/>
                          </a:lnTo>
                          <a:lnTo>
                            <a:pt x="451" y="142"/>
                          </a:lnTo>
                          <a:lnTo>
                            <a:pt x="463" y="140"/>
                          </a:lnTo>
                          <a:lnTo>
                            <a:pt x="463" y="140"/>
                          </a:lnTo>
                          <a:lnTo>
                            <a:pt x="468" y="140"/>
                          </a:lnTo>
                          <a:lnTo>
                            <a:pt x="468" y="140"/>
                          </a:lnTo>
                          <a:lnTo>
                            <a:pt x="472" y="135"/>
                          </a:lnTo>
                          <a:lnTo>
                            <a:pt x="472" y="135"/>
                          </a:lnTo>
                          <a:lnTo>
                            <a:pt x="475" y="133"/>
                          </a:lnTo>
                          <a:lnTo>
                            <a:pt x="475" y="133"/>
                          </a:lnTo>
                          <a:lnTo>
                            <a:pt x="477" y="130"/>
                          </a:lnTo>
                          <a:lnTo>
                            <a:pt x="477" y="130"/>
                          </a:lnTo>
                          <a:lnTo>
                            <a:pt x="477" y="121"/>
                          </a:lnTo>
                          <a:lnTo>
                            <a:pt x="477" y="121"/>
                          </a:lnTo>
                          <a:lnTo>
                            <a:pt x="477" y="116"/>
                          </a:lnTo>
                          <a:lnTo>
                            <a:pt x="477" y="116"/>
                          </a:lnTo>
                          <a:lnTo>
                            <a:pt x="477" y="116"/>
                          </a:lnTo>
                          <a:lnTo>
                            <a:pt x="477" y="116"/>
                          </a:lnTo>
                          <a:lnTo>
                            <a:pt x="475" y="114"/>
                          </a:lnTo>
                          <a:lnTo>
                            <a:pt x="475" y="114"/>
                          </a:lnTo>
                          <a:lnTo>
                            <a:pt x="472" y="114"/>
                          </a:lnTo>
                          <a:lnTo>
                            <a:pt x="472" y="114"/>
                          </a:lnTo>
                          <a:lnTo>
                            <a:pt x="465" y="109"/>
                          </a:lnTo>
                          <a:lnTo>
                            <a:pt x="465" y="109"/>
                          </a:lnTo>
                          <a:lnTo>
                            <a:pt x="463" y="107"/>
                          </a:lnTo>
                          <a:lnTo>
                            <a:pt x="463" y="107"/>
                          </a:lnTo>
                          <a:lnTo>
                            <a:pt x="463" y="104"/>
                          </a:lnTo>
                          <a:lnTo>
                            <a:pt x="463" y="104"/>
                          </a:lnTo>
                          <a:lnTo>
                            <a:pt x="456" y="100"/>
                          </a:lnTo>
                          <a:lnTo>
                            <a:pt x="456" y="100"/>
                          </a:lnTo>
                          <a:lnTo>
                            <a:pt x="446" y="97"/>
                          </a:lnTo>
                          <a:lnTo>
                            <a:pt x="446" y="97"/>
                          </a:lnTo>
                          <a:lnTo>
                            <a:pt x="442" y="95"/>
                          </a:lnTo>
                          <a:lnTo>
                            <a:pt x="442" y="95"/>
                          </a:lnTo>
                          <a:lnTo>
                            <a:pt x="430" y="97"/>
                          </a:lnTo>
                          <a:lnTo>
                            <a:pt x="430" y="97"/>
                          </a:lnTo>
                          <a:lnTo>
                            <a:pt x="418" y="100"/>
                          </a:lnTo>
                          <a:lnTo>
                            <a:pt x="418" y="100"/>
                          </a:lnTo>
                          <a:lnTo>
                            <a:pt x="409" y="100"/>
                          </a:lnTo>
                          <a:lnTo>
                            <a:pt x="409" y="100"/>
                          </a:lnTo>
                          <a:lnTo>
                            <a:pt x="404" y="97"/>
                          </a:lnTo>
                          <a:lnTo>
                            <a:pt x="404" y="97"/>
                          </a:lnTo>
                          <a:lnTo>
                            <a:pt x="397" y="95"/>
                          </a:lnTo>
                          <a:lnTo>
                            <a:pt x="397" y="95"/>
                          </a:lnTo>
                          <a:lnTo>
                            <a:pt x="390" y="95"/>
                          </a:lnTo>
                          <a:lnTo>
                            <a:pt x="390" y="95"/>
                          </a:lnTo>
                          <a:lnTo>
                            <a:pt x="387" y="95"/>
                          </a:lnTo>
                          <a:lnTo>
                            <a:pt x="387" y="95"/>
                          </a:lnTo>
                          <a:lnTo>
                            <a:pt x="376" y="97"/>
                          </a:lnTo>
                          <a:lnTo>
                            <a:pt x="376" y="97"/>
                          </a:lnTo>
                          <a:lnTo>
                            <a:pt x="357" y="95"/>
                          </a:lnTo>
                          <a:lnTo>
                            <a:pt x="357" y="95"/>
                          </a:lnTo>
                          <a:lnTo>
                            <a:pt x="335" y="95"/>
                          </a:lnTo>
                          <a:lnTo>
                            <a:pt x="335" y="95"/>
                          </a:lnTo>
                          <a:lnTo>
                            <a:pt x="319" y="90"/>
                          </a:lnTo>
                          <a:lnTo>
                            <a:pt x="319" y="90"/>
                          </a:lnTo>
                          <a:lnTo>
                            <a:pt x="316" y="93"/>
                          </a:lnTo>
                          <a:lnTo>
                            <a:pt x="316" y="93"/>
                          </a:lnTo>
                          <a:lnTo>
                            <a:pt x="314" y="93"/>
                          </a:lnTo>
                          <a:lnTo>
                            <a:pt x="314" y="93"/>
                          </a:lnTo>
                          <a:lnTo>
                            <a:pt x="314" y="95"/>
                          </a:lnTo>
                          <a:lnTo>
                            <a:pt x="314" y="95"/>
                          </a:lnTo>
                          <a:lnTo>
                            <a:pt x="312" y="95"/>
                          </a:lnTo>
                          <a:lnTo>
                            <a:pt x="312" y="95"/>
                          </a:lnTo>
                          <a:lnTo>
                            <a:pt x="314" y="97"/>
                          </a:lnTo>
                          <a:lnTo>
                            <a:pt x="314" y="97"/>
                          </a:lnTo>
                          <a:lnTo>
                            <a:pt x="312" y="107"/>
                          </a:lnTo>
                          <a:lnTo>
                            <a:pt x="312" y="107"/>
                          </a:lnTo>
                          <a:lnTo>
                            <a:pt x="307" y="111"/>
                          </a:lnTo>
                          <a:lnTo>
                            <a:pt x="307" y="111"/>
                          </a:lnTo>
                          <a:lnTo>
                            <a:pt x="305" y="111"/>
                          </a:lnTo>
                          <a:lnTo>
                            <a:pt x="305" y="111"/>
                          </a:lnTo>
                          <a:lnTo>
                            <a:pt x="300" y="114"/>
                          </a:lnTo>
                          <a:lnTo>
                            <a:pt x="300" y="114"/>
                          </a:lnTo>
                          <a:lnTo>
                            <a:pt x="293" y="121"/>
                          </a:lnTo>
                          <a:lnTo>
                            <a:pt x="293" y="121"/>
                          </a:lnTo>
                          <a:lnTo>
                            <a:pt x="283" y="126"/>
                          </a:lnTo>
                          <a:lnTo>
                            <a:pt x="283" y="126"/>
                          </a:lnTo>
                          <a:lnTo>
                            <a:pt x="281" y="128"/>
                          </a:lnTo>
                          <a:lnTo>
                            <a:pt x="281" y="128"/>
                          </a:lnTo>
                          <a:lnTo>
                            <a:pt x="276" y="128"/>
                          </a:lnTo>
                          <a:lnTo>
                            <a:pt x="276" y="128"/>
                          </a:lnTo>
                          <a:lnTo>
                            <a:pt x="276" y="128"/>
                          </a:lnTo>
                          <a:lnTo>
                            <a:pt x="276" y="128"/>
                          </a:lnTo>
                          <a:lnTo>
                            <a:pt x="269" y="133"/>
                          </a:lnTo>
                          <a:lnTo>
                            <a:pt x="269" y="133"/>
                          </a:lnTo>
                          <a:lnTo>
                            <a:pt x="267" y="140"/>
                          </a:lnTo>
                          <a:lnTo>
                            <a:pt x="267" y="140"/>
                          </a:lnTo>
                          <a:lnTo>
                            <a:pt x="260" y="159"/>
                          </a:lnTo>
                          <a:lnTo>
                            <a:pt x="260" y="159"/>
                          </a:lnTo>
                          <a:lnTo>
                            <a:pt x="255" y="161"/>
                          </a:lnTo>
                          <a:lnTo>
                            <a:pt x="255" y="161"/>
                          </a:lnTo>
                          <a:lnTo>
                            <a:pt x="255" y="161"/>
                          </a:lnTo>
                          <a:lnTo>
                            <a:pt x="255" y="161"/>
                          </a:lnTo>
                          <a:lnTo>
                            <a:pt x="253" y="163"/>
                          </a:lnTo>
                          <a:lnTo>
                            <a:pt x="253" y="163"/>
                          </a:lnTo>
                          <a:lnTo>
                            <a:pt x="250" y="161"/>
                          </a:lnTo>
                          <a:lnTo>
                            <a:pt x="250" y="161"/>
                          </a:lnTo>
                          <a:lnTo>
                            <a:pt x="250" y="161"/>
                          </a:lnTo>
                          <a:lnTo>
                            <a:pt x="250" y="161"/>
                          </a:lnTo>
                          <a:lnTo>
                            <a:pt x="246" y="159"/>
                          </a:lnTo>
                          <a:lnTo>
                            <a:pt x="246" y="159"/>
                          </a:lnTo>
                          <a:lnTo>
                            <a:pt x="246" y="159"/>
                          </a:lnTo>
                          <a:lnTo>
                            <a:pt x="246" y="159"/>
                          </a:lnTo>
                          <a:lnTo>
                            <a:pt x="243" y="159"/>
                          </a:lnTo>
                          <a:lnTo>
                            <a:pt x="243" y="159"/>
                          </a:lnTo>
                          <a:lnTo>
                            <a:pt x="239" y="163"/>
                          </a:lnTo>
                          <a:lnTo>
                            <a:pt x="239" y="163"/>
                          </a:lnTo>
                          <a:lnTo>
                            <a:pt x="234" y="175"/>
                          </a:lnTo>
                          <a:lnTo>
                            <a:pt x="234" y="175"/>
                          </a:lnTo>
                          <a:lnTo>
                            <a:pt x="234" y="180"/>
                          </a:lnTo>
                          <a:lnTo>
                            <a:pt x="234" y="180"/>
                          </a:lnTo>
                          <a:lnTo>
                            <a:pt x="229" y="185"/>
                          </a:lnTo>
                          <a:lnTo>
                            <a:pt x="229" y="185"/>
                          </a:lnTo>
                          <a:lnTo>
                            <a:pt x="220" y="189"/>
                          </a:lnTo>
                          <a:lnTo>
                            <a:pt x="220" y="189"/>
                          </a:lnTo>
                          <a:lnTo>
                            <a:pt x="213" y="189"/>
                          </a:lnTo>
                          <a:lnTo>
                            <a:pt x="213" y="189"/>
                          </a:lnTo>
                          <a:lnTo>
                            <a:pt x="208" y="189"/>
                          </a:lnTo>
                          <a:lnTo>
                            <a:pt x="208" y="189"/>
                          </a:lnTo>
                          <a:lnTo>
                            <a:pt x="208" y="189"/>
                          </a:lnTo>
                          <a:lnTo>
                            <a:pt x="208" y="189"/>
                          </a:lnTo>
                          <a:lnTo>
                            <a:pt x="201" y="187"/>
                          </a:lnTo>
                          <a:lnTo>
                            <a:pt x="201" y="187"/>
                          </a:lnTo>
                          <a:lnTo>
                            <a:pt x="201" y="187"/>
                          </a:lnTo>
                          <a:lnTo>
                            <a:pt x="201" y="187"/>
                          </a:lnTo>
                          <a:lnTo>
                            <a:pt x="203" y="185"/>
                          </a:lnTo>
                          <a:lnTo>
                            <a:pt x="203" y="185"/>
                          </a:lnTo>
                          <a:lnTo>
                            <a:pt x="203" y="185"/>
                          </a:lnTo>
                          <a:lnTo>
                            <a:pt x="203" y="185"/>
                          </a:lnTo>
                          <a:lnTo>
                            <a:pt x="198" y="180"/>
                          </a:lnTo>
                          <a:lnTo>
                            <a:pt x="198" y="180"/>
                          </a:lnTo>
                          <a:lnTo>
                            <a:pt x="198" y="180"/>
                          </a:lnTo>
                          <a:lnTo>
                            <a:pt x="198" y="180"/>
                          </a:lnTo>
                          <a:lnTo>
                            <a:pt x="198" y="180"/>
                          </a:lnTo>
                          <a:lnTo>
                            <a:pt x="198" y="180"/>
                          </a:lnTo>
                          <a:lnTo>
                            <a:pt x="191" y="187"/>
                          </a:lnTo>
                          <a:lnTo>
                            <a:pt x="191" y="187"/>
                          </a:lnTo>
                          <a:lnTo>
                            <a:pt x="184" y="192"/>
                          </a:lnTo>
                          <a:lnTo>
                            <a:pt x="184" y="192"/>
                          </a:lnTo>
                          <a:lnTo>
                            <a:pt x="182" y="189"/>
                          </a:lnTo>
                          <a:lnTo>
                            <a:pt x="182" y="189"/>
                          </a:lnTo>
                          <a:lnTo>
                            <a:pt x="172" y="192"/>
                          </a:lnTo>
                          <a:lnTo>
                            <a:pt x="172" y="192"/>
                          </a:lnTo>
                          <a:lnTo>
                            <a:pt x="168" y="194"/>
                          </a:lnTo>
                          <a:lnTo>
                            <a:pt x="168" y="194"/>
                          </a:lnTo>
                          <a:lnTo>
                            <a:pt x="161" y="192"/>
                          </a:lnTo>
                          <a:lnTo>
                            <a:pt x="161" y="192"/>
                          </a:lnTo>
                          <a:lnTo>
                            <a:pt x="156" y="192"/>
                          </a:lnTo>
                          <a:lnTo>
                            <a:pt x="156" y="192"/>
                          </a:lnTo>
                          <a:lnTo>
                            <a:pt x="153" y="192"/>
                          </a:lnTo>
                          <a:lnTo>
                            <a:pt x="153" y="192"/>
                          </a:lnTo>
                          <a:lnTo>
                            <a:pt x="151" y="192"/>
                          </a:lnTo>
                          <a:lnTo>
                            <a:pt x="151" y="192"/>
                          </a:lnTo>
                          <a:lnTo>
                            <a:pt x="149" y="192"/>
                          </a:lnTo>
                          <a:lnTo>
                            <a:pt x="149" y="192"/>
                          </a:lnTo>
                          <a:lnTo>
                            <a:pt x="144" y="196"/>
                          </a:lnTo>
                          <a:lnTo>
                            <a:pt x="144" y="196"/>
                          </a:lnTo>
                          <a:lnTo>
                            <a:pt x="142" y="201"/>
                          </a:lnTo>
                          <a:lnTo>
                            <a:pt x="142" y="201"/>
                          </a:lnTo>
                          <a:lnTo>
                            <a:pt x="142" y="201"/>
                          </a:lnTo>
                          <a:lnTo>
                            <a:pt x="142" y="201"/>
                          </a:lnTo>
                          <a:lnTo>
                            <a:pt x="139" y="206"/>
                          </a:lnTo>
                          <a:lnTo>
                            <a:pt x="139" y="206"/>
                          </a:lnTo>
                          <a:lnTo>
                            <a:pt x="139" y="206"/>
                          </a:lnTo>
                          <a:lnTo>
                            <a:pt x="139" y="206"/>
                          </a:lnTo>
                          <a:lnTo>
                            <a:pt x="142" y="208"/>
                          </a:lnTo>
                          <a:lnTo>
                            <a:pt x="142" y="208"/>
                          </a:lnTo>
                          <a:lnTo>
                            <a:pt x="142" y="218"/>
                          </a:lnTo>
                          <a:lnTo>
                            <a:pt x="142" y="218"/>
                          </a:lnTo>
                          <a:lnTo>
                            <a:pt x="135" y="237"/>
                          </a:lnTo>
                          <a:lnTo>
                            <a:pt x="135" y="237"/>
                          </a:lnTo>
                          <a:lnTo>
                            <a:pt x="135" y="239"/>
                          </a:lnTo>
                          <a:lnTo>
                            <a:pt x="135" y="239"/>
                          </a:lnTo>
                          <a:lnTo>
                            <a:pt x="132" y="241"/>
                          </a:lnTo>
                          <a:lnTo>
                            <a:pt x="132" y="241"/>
                          </a:lnTo>
                          <a:lnTo>
                            <a:pt x="127" y="239"/>
                          </a:lnTo>
                          <a:lnTo>
                            <a:pt x="127" y="239"/>
                          </a:lnTo>
                          <a:lnTo>
                            <a:pt x="125" y="237"/>
                          </a:lnTo>
                          <a:lnTo>
                            <a:pt x="125" y="237"/>
                          </a:lnTo>
                          <a:lnTo>
                            <a:pt x="123" y="237"/>
                          </a:lnTo>
                          <a:lnTo>
                            <a:pt x="123" y="237"/>
                          </a:lnTo>
                          <a:lnTo>
                            <a:pt x="116" y="239"/>
                          </a:lnTo>
                          <a:lnTo>
                            <a:pt x="116" y="239"/>
                          </a:lnTo>
                          <a:lnTo>
                            <a:pt x="99" y="244"/>
                          </a:lnTo>
                          <a:lnTo>
                            <a:pt x="99" y="244"/>
                          </a:lnTo>
                          <a:lnTo>
                            <a:pt x="94" y="246"/>
                          </a:lnTo>
                          <a:lnTo>
                            <a:pt x="94" y="246"/>
                          </a:lnTo>
                          <a:lnTo>
                            <a:pt x="87" y="253"/>
                          </a:lnTo>
                          <a:lnTo>
                            <a:pt x="87" y="253"/>
                          </a:lnTo>
                          <a:lnTo>
                            <a:pt x="85" y="256"/>
                          </a:lnTo>
                          <a:lnTo>
                            <a:pt x="85" y="256"/>
                          </a:lnTo>
                          <a:lnTo>
                            <a:pt x="76" y="267"/>
                          </a:lnTo>
                          <a:lnTo>
                            <a:pt x="76" y="267"/>
                          </a:lnTo>
                          <a:lnTo>
                            <a:pt x="73" y="267"/>
                          </a:lnTo>
                          <a:lnTo>
                            <a:pt x="73" y="267"/>
                          </a:lnTo>
                          <a:lnTo>
                            <a:pt x="71" y="270"/>
                          </a:lnTo>
                          <a:lnTo>
                            <a:pt x="71" y="270"/>
                          </a:lnTo>
                          <a:lnTo>
                            <a:pt x="64" y="270"/>
                          </a:lnTo>
                          <a:lnTo>
                            <a:pt x="64" y="270"/>
                          </a:lnTo>
                          <a:lnTo>
                            <a:pt x="61" y="270"/>
                          </a:lnTo>
                          <a:lnTo>
                            <a:pt x="61" y="270"/>
                          </a:lnTo>
                          <a:lnTo>
                            <a:pt x="61" y="270"/>
                          </a:lnTo>
                          <a:lnTo>
                            <a:pt x="61" y="270"/>
                          </a:lnTo>
                          <a:lnTo>
                            <a:pt x="61" y="263"/>
                          </a:lnTo>
                          <a:lnTo>
                            <a:pt x="61" y="263"/>
                          </a:lnTo>
                          <a:lnTo>
                            <a:pt x="66" y="256"/>
                          </a:lnTo>
                          <a:lnTo>
                            <a:pt x="66" y="256"/>
                          </a:lnTo>
                          <a:lnTo>
                            <a:pt x="68" y="253"/>
                          </a:lnTo>
                          <a:lnTo>
                            <a:pt x="68" y="253"/>
                          </a:lnTo>
                          <a:lnTo>
                            <a:pt x="71" y="251"/>
                          </a:lnTo>
                          <a:lnTo>
                            <a:pt x="71" y="251"/>
                          </a:lnTo>
                          <a:lnTo>
                            <a:pt x="71" y="248"/>
                          </a:lnTo>
                          <a:lnTo>
                            <a:pt x="71" y="248"/>
                          </a:lnTo>
                          <a:lnTo>
                            <a:pt x="68" y="241"/>
                          </a:lnTo>
                          <a:lnTo>
                            <a:pt x="68" y="241"/>
                          </a:lnTo>
                          <a:lnTo>
                            <a:pt x="68" y="241"/>
                          </a:lnTo>
                          <a:lnTo>
                            <a:pt x="68" y="241"/>
                          </a:lnTo>
                          <a:lnTo>
                            <a:pt x="66" y="239"/>
                          </a:lnTo>
                          <a:lnTo>
                            <a:pt x="66" y="239"/>
                          </a:lnTo>
                          <a:lnTo>
                            <a:pt x="64" y="237"/>
                          </a:lnTo>
                          <a:lnTo>
                            <a:pt x="64" y="237"/>
                          </a:lnTo>
                          <a:lnTo>
                            <a:pt x="57" y="237"/>
                          </a:lnTo>
                          <a:lnTo>
                            <a:pt x="57" y="237"/>
                          </a:lnTo>
                          <a:lnTo>
                            <a:pt x="50" y="239"/>
                          </a:lnTo>
                          <a:lnTo>
                            <a:pt x="50" y="239"/>
                          </a:lnTo>
                          <a:lnTo>
                            <a:pt x="38" y="244"/>
                          </a:lnTo>
                          <a:lnTo>
                            <a:pt x="38" y="244"/>
                          </a:lnTo>
                          <a:lnTo>
                            <a:pt x="33" y="246"/>
                          </a:lnTo>
                          <a:lnTo>
                            <a:pt x="33" y="246"/>
                          </a:lnTo>
                          <a:lnTo>
                            <a:pt x="31" y="248"/>
                          </a:lnTo>
                          <a:lnTo>
                            <a:pt x="31" y="248"/>
                          </a:lnTo>
                          <a:lnTo>
                            <a:pt x="28" y="251"/>
                          </a:lnTo>
                          <a:lnTo>
                            <a:pt x="28" y="251"/>
                          </a:lnTo>
                          <a:lnTo>
                            <a:pt x="26" y="253"/>
                          </a:lnTo>
                          <a:lnTo>
                            <a:pt x="26" y="253"/>
                          </a:lnTo>
                          <a:lnTo>
                            <a:pt x="24" y="258"/>
                          </a:lnTo>
                          <a:lnTo>
                            <a:pt x="24" y="258"/>
                          </a:lnTo>
                          <a:lnTo>
                            <a:pt x="21" y="260"/>
                          </a:lnTo>
                          <a:lnTo>
                            <a:pt x="21" y="260"/>
                          </a:lnTo>
                          <a:lnTo>
                            <a:pt x="21" y="260"/>
                          </a:lnTo>
                          <a:lnTo>
                            <a:pt x="21" y="260"/>
                          </a:lnTo>
                          <a:lnTo>
                            <a:pt x="19" y="260"/>
                          </a:lnTo>
                          <a:lnTo>
                            <a:pt x="19" y="260"/>
                          </a:lnTo>
                          <a:lnTo>
                            <a:pt x="19" y="260"/>
                          </a:lnTo>
                          <a:lnTo>
                            <a:pt x="19" y="260"/>
                          </a:lnTo>
                          <a:close/>
                        </a:path>
                      </a:pathLst>
                    </a:custGeom>
                    <a:solidFill>
                      <a:srgbClr val="0070C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41" name="Freeform 1164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576" y="1208"/>
                      <a:ext cx="12" cy="11"/>
                    </a:xfrm>
                    <a:custGeom>
                      <a:avLst/>
                      <a:gdLst/>
                      <a:ahLst/>
                      <a:cxnLst>
                        <a:cxn ang="0">
                          <a:pos x="7" y="10"/>
                        </a:cxn>
                        <a:cxn ang="0">
                          <a:pos x="4" y="10"/>
                        </a:cxn>
                        <a:cxn ang="0">
                          <a:pos x="4" y="10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2" y="3"/>
                        </a:cxn>
                        <a:cxn ang="0">
                          <a:pos x="2" y="3"/>
                        </a:cxn>
                        <a:cxn ang="0">
                          <a:pos x="2" y="3"/>
                        </a:cxn>
                        <a:cxn ang="0">
                          <a:pos x="2" y="3"/>
                        </a:cxn>
                        <a:cxn ang="0">
                          <a:pos x="4" y="3"/>
                        </a:cxn>
                        <a:cxn ang="0">
                          <a:pos x="4" y="3"/>
                        </a:cxn>
                        <a:cxn ang="0">
                          <a:pos x="4" y="0"/>
                        </a:cxn>
                        <a:cxn ang="0">
                          <a:pos x="4" y="0"/>
                        </a:cxn>
                        <a:cxn ang="0">
                          <a:pos x="4" y="0"/>
                        </a:cxn>
                        <a:cxn ang="0">
                          <a:pos x="4" y="0"/>
                        </a:cxn>
                        <a:cxn ang="0">
                          <a:pos x="4" y="3"/>
                        </a:cxn>
                        <a:cxn ang="0">
                          <a:pos x="4" y="3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8"/>
                        </a:cxn>
                        <a:cxn ang="0">
                          <a:pos x="7" y="8"/>
                        </a:cxn>
                        <a:cxn ang="0">
                          <a:pos x="7" y="8"/>
                        </a:cxn>
                        <a:cxn ang="0">
                          <a:pos x="7" y="8"/>
                        </a:cxn>
                        <a:cxn ang="0">
                          <a:pos x="7" y="8"/>
                        </a:cxn>
                        <a:cxn ang="0">
                          <a:pos x="7" y="8"/>
                        </a:cxn>
                        <a:cxn ang="0">
                          <a:pos x="7" y="8"/>
                        </a:cxn>
                        <a:cxn ang="0">
                          <a:pos x="7" y="8"/>
                        </a:cxn>
                        <a:cxn ang="0">
                          <a:pos x="7" y="8"/>
                        </a:cxn>
                        <a:cxn ang="0">
                          <a:pos x="7" y="8"/>
                        </a:cxn>
                        <a:cxn ang="0">
                          <a:pos x="7" y="8"/>
                        </a:cxn>
                        <a:cxn ang="0">
                          <a:pos x="7" y="8"/>
                        </a:cxn>
                        <a:cxn ang="0">
                          <a:pos x="7" y="8"/>
                        </a:cxn>
                        <a:cxn ang="0">
                          <a:pos x="7" y="8"/>
                        </a:cxn>
                        <a:cxn ang="0">
                          <a:pos x="9" y="8"/>
                        </a:cxn>
                        <a:cxn ang="0">
                          <a:pos x="9" y="8"/>
                        </a:cxn>
                        <a:cxn ang="0">
                          <a:pos x="9" y="5"/>
                        </a:cxn>
                        <a:cxn ang="0">
                          <a:pos x="9" y="5"/>
                        </a:cxn>
                        <a:cxn ang="0">
                          <a:pos x="11" y="8"/>
                        </a:cxn>
                        <a:cxn ang="0">
                          <a:pos x="11" y="8"/>
                        </a:cxn>
                        <a:cxn ang="0">
                          <a:pos x="9" y="10"/>
                        </a:cxn>
                        <a:cxn ang="0">
                          <a:pos x="9" y="10"/>
                        </a:cxn>
                        <a:cxn ang="0">
                          <a:pos x="7" y="10"/>
                        </a:cxn>
                        <a:cxn ang="0">
                          <a:pos x="7" y="10"/>
                        </a:cxn>
                        <a:cxn ang="0">
                          <a:pos x="7" y="10"/>
                        </a:cxn>
                        <a:cxn ang="0">
                          <a:pos x="7" y="10"/>
                        </a:cxn>
                      </a:cxnLst>
                      <a:rect l="0" t="0" r="r" b="b"/>
                      <a:pathLst>
                        <a:path w="11" h="10">
                          <a:moveTo>
                            <a:pt x="7" y="10"/>
                          </a:moveTo>
                          <a:lnTo>
                            <a:pt x="4" y="10"/>
                          </a:lnTo>
                          <a:lnTo>
                            <a:pt x="4" y="10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2" y="3"/>
                          </a:lnTo>
                          <a:lnTo>
                            <a:pt x="2" y="3"/>
                          </a:lnTo>
                          <a:lnTo>
                            <a:pt x="2" y="3"/>
                          </a:lnTo>
                          <a:lnTo>
                            <a:pt x="2" y="3"/>
                          </a:lnTo>
                          <a:lnTo>
                            <a:pt x="4" y="3"/>
                          </a:lnTo>
                          <a:lnTo>
                            <a:pt x="4" y="3"/>
                          </a:lnTo>
                          <a:lnTo>
                            <a:pt x="4" y="0"/>
                          </a:lnTo>
                          <a:lnTo>
                            <a:pt x="4" y="0"/>
                          </a:lnTo>
                          <a:lnTo>
                            <a:pt x="4" y="0"/>
                          </a:lnTo>
                          <a:lnTo>
                            <a:pt x="4" y="0"/>
                          </a:lnTo>
                          <a:lnTo>
                            <a:pt x="4" y="3"/>
                          </a:lnTo>
                          <a:lnTo>
                            <a:pt x="4" y="3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8"/>
                          </a:lnTo>
                          <a:lnTo>
                            <a:pt x="7" y="8"/>
                          </a:lnTo>
                          <a:lnTo>
                            <a:pt x="7" y="8"/>
                          </a:lnTo>
                          <a:lnTo>
                            <a:pt x="7" y="8"/>
                          </a:lnTo>
                          <a:lnTo>
                            <a:pt x="7" y="8"/>
                          </a:lnTo>
                          <a:lnTo>
                            <a:pt x="7" y="8"/>
                          </a:lnTo>
                          <a:lnTo>
                            <a:pt x="7" y="8"/>
                          </a:lnTo>
                          <a:lnTo>
                            <a:pt x="7" y="8"/>
                          </a:lnTo>
                          <a:lnTo>
                            <a:pt x="7" y="8"/>
                          </a:lnTo>
                          <a:lnTo>
                            <a:pt x="7" y="8"/>
                          </a:lnTo>
                          <a:lnTo>
                            <a:pt x="7" y="8"/>
                          </a:lnTo>
                          <a:lnTo>
                            <a:pt x="7" y="8"/>
                          </a:lnTo>
                          <a:lnTo>
                            <a:pt x="7" y="8"/>
                          </a:lnTo>
                          <a:lnTo>
                            <a:pt x="7" y="8"/>
                          </a:lnTo>
                          <a:lnTo>
                            <a:pt x="9" y="8"/>
                          </a:lnTo>
                          <a:lnTo>
                            <a:pt x="9" y="8"/>
                          </a:lnTo>
                          <a:lnTo>
                            <a:pt x="9" y="5"/>
                          </a:lnTo>
                          <a:lnTo>
                            <a:pt x="9" y="5"/>
                          </a:lnTo>
                          <a:lnTo>
                            <a:pt x="11" y="8"/>
                          </a:lnTo>
                          <a:lnTo>
                            <a:pt x="11" y="8"/>
                          </a:lnTo>
                          <a:lnTo>
                            <a:pt x="9" y="10"/>
                          </a:lnTo>
                          <a:lnTo>
                            <a:pt x="9" y="10"/>
                          </a:lnTo>
                          <a:lnTo>
                            <a:pt x="7" y="10"/>
                          </a:lnTo>
                          <a:lnTo>
                            <a:pt x="7" y="10"/>
                          </a:lnTo>
                          <a:lnTo>
                            <a:pt x="7" y="10"/>
                          </a:lnTo>
                          <a:lnTo>
                            <a:pt x="7" y="10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42" name="Freeform 1165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588" y="1219"/>
                      <a:ext cx="14" cy="8"/>
                    </a:xfrm>
                    <a:custGeom>
                      <a:avLst/>
                      <a:gdLst/>
                      <a:ahLst/>
                      <a:cxnLst>
                        <a:cxn ang="0">
                          <a:pos x="8" y="7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8" y="2"/>
                        </a:cxn>
                        <a:cxn ang="0">
                          <a:pos x="8" y="2"/>
                        </a:cxn>
                        <a:cxn ang="0">
                          <a:pos x="10" y="5"/>
                        </a:cxn>
                        <a:cxn ang="0">
                          <a:pos x="10" y="5"/>
                        </a:cxn>
                        <a:cxn ang="0">
                          <a:pos x="10" y="5"/>
                        </a:cxn>
                        <a:cxn ang="0">
                          <a:pos x="10" y="5"/>
                        </a:cxn>
                        <a:cxn ang="0">
                          <a:pos x="12" y="7"/>
                        </a:cxn>
                        <a:cxn ang="0">
                          <a:pos x="12" y="7"/>
                        </a:cxn>
                        <a:cxn ang="0">
                          <a:pos x="12" y="7"/>
                        </a:cxn>
                        <a:cxn ang="0">
                          <a:pos x="12" y="7"/>
                        </a:cxn>
                        <a:cxn ang="0">
                          <a:pos x="10" y="7"/>
                        </a:cxn>
                        <a:cxn ang="0">
                          <a:pos x="10" y="7"/>
                        </a:cxn>
                        <a:cxn ang="0">
                          <a:pos x="10" y="7"/>
                        </a:cxn>
                        <a:cxn ang="0">
                          <a:pos x="10" y="7"/>
                        </a:cxn>
                        <a:cxn ang="0">
                          <a:pos x="10" y="7"/>
                        </a:cxn>
                        <a:cxn ang="0">
                          <a:pos x="10" y="7"/>
                        </a:cxn>
                        <a:cxn ang="0">
                          <a:pos x="8" y="7"/>
                        </a:cxn>
                        <a:cxn ang="0">
                          <a:pos x="8" y="7"/>
                        </a:cxn>
                        <a:cxn ang="0">
                          <a:pos x="8" y="7"/>
                        </a:cxn>
                        <a:cxn ang="0">
                          <a:pos x="8" y="7"/>
                        </a:cxn>
                      </a:cxnLst>
                      <a:rect l="0" t="0" r="r" b="b"/>
                      <a:pathLst>
                        <a:path w="12" h="7">
                          <a:moveTo>
                            <a:pt x="8" y="7"/>
                          </a:move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8" y="2"/>
                          </a:lnTo>
                          <a:lnTo>
                            <a:pt x="8" y="2"/>
                          </a:lnTo>
                          <a:lnTo>
                            <a:pt x="10" y="5"/>
                          </a:lnTo>
                          <a:lnTo>
                            <a:pt x="10" y="5"/>
                          </a:lnTo>
                          <a:lnTo>
                            <a:pt x="10" y="5"/>
                          </a:lnTo>
                          <a:lnTo>
                            <a:pt x="10" y="5"/>
                          </a:lnTo>
                          <a:lnTo>
                            <a:pt x="12" y="7"/>
                          </a:lnTo>
                          <a:lnTo>
                            <a:pt x="12" y="7"/>
                          </a:lnTo>
                          <a:lnTo>
                            <a:pt x="12" y="7"/>
                          </a:lnTo>
                          <a:lnTo>
                            <a:pt x="12" y="7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8" y="7"/>
                          </a:lnTo>
                          <a:lnTo>
                            <a:pt x="8" y="7"/>
                          </a:lnTo>
                          <a:lnTo>
                            <a:pt x="8" y="7"/>
                          </a:lnTo>
                          <a:lnTo>
                            <a:pt x="8" y="7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43" name="Freeform 1166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605" y="1221"/>
                      <a:ext cx="18" cy="12"/>
                    </a:xfrm>
                    <a:custGeom>
                      <a:avLst/>
                      <a:gdLst/>
                      <a:ahLst/>
                      <a:cxnLst>
                        <a:cxn ang="0">
                          <a:pos x="4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4" y="5"/>
                        </a:cxn>
                        <a:cxn ang="0">
                          <a:pos x="4" y="5"/>
                        </a:cxn>
                        <a:cxn ang="0">
                          <a:pos x="2" y="5"/>
                        </a:cxn>
                        <a:cxn ang="0">
                          <a:pos x="2" y="7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11" y="3"/>
                        </a:cxn>
                        <a:cxn ang="0">
                          <a:pos x="11" y="3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6" y="3"/>
                        </a:cxn>
                        <a:cxn ang="0">
                          <a:pos x="16" y="5"/>
                        </a:cxn>
                        <a:cxn ang="0">
                          <a:pos x="16" y="5"/>
                        </a:cxn>
                        <a:cxn ang="0">
                          <a:pos x="14" y="5"/>
                        </a:cxn>
                        <a:cxn ang="0">
                          <a:pos x="14" y="5"/>
                        </a:cxn>
                        <a:cxn ang="0">
                          <a:pos x="14" y="5"/>
                        </a:cxn>
                        <a:cxn ang="0">
                          <a:pos x="11" y="5"/>
                        </a:cxn>
                        <a:cxn ang="0">
                          <a:pos x="11" y="5"/>
                        </a:cxn>
                        <a:cxn ang="0">
                          <a:pos x="9" y="5"/>
                        </a:cxn>
                        <a:cxn ang="0">
                          <a:pos x="9" y="7"/>
                        </a:cxn>
                        <a:cxn ang="0">
                          <a:pos x="9" y="7"/>
                        </a:cxn>
                        <a:cxn ang="0">
                          <a:pos x="9" y="10"/>
                        </a:cxn>
                        <a:cxn ang="0">
                          <a:pos x="9" y="10"/>
                        </a:cxn>
                        <a:cxn ang="0">
                          <a:pos x="7" y="10"/>
                        </a:cxn>
                        <a:cxn ang="0">
                          <a:pos x="7" y="10"/>
                        </a:cxn>
                        <a:cxn ang="0">
                          <a:pos x="7" y="10"/>
                        </a:cxn>
                      </a:cxnLst>
                      <a:rect l="0" t="0" r="r" b="b"/>
                      <a:pathLst>
                        <a:path w="16" h="10">
                          <a:moveTo>
                            <a:pt x="7" y="10"/>
                          </a:moveTo>
                          <a:lnTo>
                            <a:pt x="4" y="7"/>
                          </a:lnTo>
                          <a:lnTo>
                            <a:pt x="4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4" y="5"/>
                          </a:lnTo>
                          <a:lnTo>
                            <a:pt x="4" y="5"/>
                          </a:lnTo>
                          <a:lnTo>
                            <a:pt x="4" y="5"/>
                          </a:lnTo>
                          <a:lnTo>
                            <a:pt x="4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11" y="3"/>
                          </a:lnTo>
                          <a:lnTo>
                            <a:pt x="11" y="3"/>
                          </a:lnTo>
                          <a:lnTo>
                            <a:pt x="11" y="3"/>
                          </a:lnTo>
                          <a:lnTo>
                            <a:pt x="11" y="3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6" y="3"/>
                          </a:lnTo>
                          <a:lnTo>
                            <a:pt x="16" y="3"/>
                          </a:lnTo>
                          <a:lnTo>
                            <a:pt x="16" y="5"/>
                          </a:lnTo>
                          <a:lnTo>
                            <a:pt x="16" y="5"/>
                          </a:lnTo>
                          <a:lnTo>
                            <a:pt x="16" y="5"/>
                          </a:lnTo>
                          <a:lnTo>
                            <a:pt x="16" y="5"/>
                          </a:lnTo>
                          <a:lnTo>
                            <a:pt x="14" y="5"/>
                          </a:lnTo>
                          <a:lnTo>
                            <a:pt x="14" y="5"/>
                          </a:lnTo>
                          <a:lnTo>
                            <a:pt x="14" y="5"/>
                          </a:lnTo>
                          <a:lnTo>
                            <a:pt x="14" y="5"/>
                          </a:lnTo>
                          <a:lnTo>
                            <a:pt x="14" y="5"/>
                          </a:lnTo>
                          <a:lnTo>
                            <a:pt x="14" y="5"/>
                          </a:lnTo>
                          <a:lnTo>
                            <a:pt x="11" y="5"/>
                          </a:lnTo>
                          <a:lnTo>
                            <a:pt x="11" y="5"/>
                          </a:lnTo>
                          <a:lnTo>
                            <a:pt x="11" y="5"/>
                          </a:lnTo>
                          <a:lnTo>
                            <a:pt x="11" y="5"/>
                          </a:lnTo>
                          <a:lnTo>
                            <a:pt x="9" y="5"/>
                          </a:lnTo>
                          <a:lnTo>
                            <a:pt x="9" y="5"/>
                          </a:lnTo>
                          <a:lnTo>
                            <a:pt x="9" y="7"/>
                          </a:lnTo>
                          <a:lnTo>
                            <a:pt x="9" y="7"/>
                          </a:lnTo>
                          <a:lnTo>
                            <a:pt x="9" y="7"/>
                          </a:lnTo>
                          <a:lnTo>
                            <a:pt x="9" y="7"/>
                          </a:lnTo>
                          <a:lnTo>
                            <a:pt x="9" y="10"/>
                          </a:lnTo>
                          <a:lnTo>
                            <a:pt x="9" y="10"/>
                          </a:lnTo>
                          <a:lnTo>
                            <a:pt x="9" y="10"/>
                          </a:lnTo>
                          <a:lnTo>
                            <a:pt x="9" y="10"/>
                          </a:lnTo>
                          <a:lnTo>
                            <a:pt x="7" y="10"/>
                          </a:lnTo>
                          <a:lnTo>
                            <a:pt x="7" y="10"/>
                          </a:lnTo>
                          <a:lnTo>
                            <a:pt x="7" y="10"/>
                          </a:lnTo>
                          <a:lnTo>
                            <a:pt x="7" y="10"/>
                          </a:lnTo>
                          <a:lnTo>
                            <a:pt x="7" y="10"/>
                          </a:lnTo>
                          <a:lnTo>
                            <a:pt x="7" y="10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44" name="Freeform 1167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629" y="1221"/>
                      <a:ext cx="24" cy="14"/>
                    </a:xfrm>
                    <a:custGeom>
                      <a:avLst/>
                      <a:gdLst/>
                      <a:ahLst/>
                      <a:cxnLst>
                        <a:cxn ang="0">
                          <a:pos x="14" y="12"/>
                        </a:cxn>
                        <a:cxn ang="0">
                          <a:pos x="16" y="12"/>
                        </a:cxn>
                        <a:cxn ang="0">
                          <a:pos x="16" y="12"/>
                        </a:cxn>
                        <a:cxn ang="0">
                          <a:pos x="16" y="12"/>
                        </a:cxn>
                        <a:cxn ang="0">
                          <a:pos x="14" y="12"/>
                        </a:cxn>
                        <a:cxn ang="0">
                          <a:pos x="14" y="10"/>
                        </a:cxn>
                        <a:cxn ang="0">
                          <a:pos x="14" y="10"/>
                        </a:cxn>
                        <a:cxn ang="0">
                          <a:pos x="12" y="7"/>
                        </a:cxn>
                        <a:cxn ang="0">
                          <a:pos x="12" y="7"/>
                        </a:cxn>
                        <a:cxn ang="0">
                          <a:pos x="12" y="7"/>
                        </a:cxn>
                        <a:cxn ang="0">
                          <a:pos x="9" y="10"/>
                        </a:cxn>
                        <a:cxn ang="0">
                          <a:pos x="5" y="10"/>
                        </a:cxn>
                        <a:cxn ang="0">
                          <a:pos x="2" y="10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2" y="0"/>
                        </a:cxn>
                        <a:cxn ang="0">
                          <a:pos x="2" y="3"/>
                        </a:cxn>
                        <a:cxn ang="0">
                          <a:pos x="2" y="5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7" y="5"/>
                        </a:cxn>
                        <a:cxn ang="0">
                          <a:pos x="12" y="7"/>
                        </a:cxn>
                        <a:cxn ang="0">
                          <a:pos x="12" y="7"/>
                        </a:cxn>
                        <a:cxn ang="0">
                          <a:pos x="14" y="7"/>
                        </a:cxn>
                        <a:cxn ang="0">
                          <a:pos x="16" y="7"/>
                        </a:cxn>
                        <a:cxn ang="0">
                          <a:pos x="16" y="7"/>
                        </a:cxn>
                        <a:cxn ang="0">
                          <a:pos x="19" y="7"/>
                        </a:cxn>
                        <a:cxn ang="0">
                          <a:pos x="19" y="5"/>
                        </a:cxn>
                        <a:cxn ang="0">
                          <a:pos x="19" y="5"/>
                        </a:cxn>
                        <a:cxn ang="0">
                          <a:pos x="21" y="10"/>
                        </a:cxn>
                        <a:cxn ang="0">
                          <a:pos x="21" y="10"/>
                        </a:cxn>
                        <a:cxn ang="0">
                          <a:pos x="19" y="10"/>
                        </a:cxn>
                        <a:cxn ang="0">
                          <a:pos x="16" y="12"/>
                        </a:cxn>
                        <a:cxn ang="0">
                          <a:pos x="16" y="12"/>
                        </a:cxn>
                        <a:cxn ang="0">
                          <a:pos x="16" y="12"/>
                        </a:cxn>
                      </a:cxnLst>
                      <a:rect l="0" t="0" r="r" b="b"/>
                      <a:pathLst>
                        <a:path w="21" h="12">
                          <a:moveTo>
                            <a:pt x="16" y="12"/>
                          </a:moveTo>
                          <a:lnTo>
                            <a:pt x="14" y="12"/>
                          </a:lnTo>
                          <a:lnTo>
                            <a:pt x="14" y="12"/>
                          </a:lnTo>
                          <a:lnTo>
                            <a:pt x="16" y="12"/>
                          </a:lnTo>
                          <a:lnTo>
                            <a:pt x="16" y="12"/>
                          </a:lnTo>
                          <a:lnTo>
                            <a:pt x="16" y="12"/>
                          </a:lnTo>
                          <a:lnTo>
                            <a:pt x="16" y="12"/>
                          </a:lnTo>
                          <a:lnTo>
                            <a:pt x="16" y="12"/>
                          </a:lnTo>
                          <a:lnTo>
                            <a:pt x="16" y="12"/>
                          </a:lnTo>
                          <a:lnTo>
                            <a:pt x="14" y="12"/>
                          </a:lnTo>
                          <a:lnTo>
                            <a:pt x="14" y="12"/>
                          </a:lnTo>
                          <a:lnTo>
                            <a:pt x="14" y="10"/>
                          </a:lnTo>
                          <a:lnTo>
                            <a:pt x="14" y="10"/>
                          </a:lnTo>
                          <a:lnTo>
                            <a:pt x="14" y="10"/>
                          </a:lnTo>
                          <a:lnTo>
                            <a:pt x="14" y="10"/>
                          </a:lnTo>
                          <a:lnTo>
                            <a:pt x="12" y="7"/>
                          </a:lnTo>
                          <a:lnTo>
                            <a:pt x="12" y="7"/>
                          </a:lnTo>
                          <a:lnTo>
                            <a:pt x="12" y="7"/>
                          </a:lnTo>
                          <a:lnTo>
                            <a:pt x="12" y="7"/>
                          </a:lnTo>
                          <a:lnTo>
                            <a:pt x="12" y="7"/>
                          </a:lnTo>
                          <a:lnTo>
                            <a:pt x="12" y="7"/>
                          </a:lnTo>
                          <a:lnTo>
                            <a:pt x="9" y="10"/>
                          </a:lnTo>
                          <a:lnTo>
                            <a:pt x="9" y="10"/>
                          </a:lnTo>
                          <a:lnTo>
                            <a:pt x="5" y="10"/>
                          </a:lnTo>
                          <a:lnTo>
                            <a:pt x="5" y="10"/>
                          </a:lnTo>
                          <a:lnTo>
                            <a:pt x="2" y="10"/>
                          </a:lnTo>
                          <a:lnTo>
                            <a:pt x="2" y="10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3"/>
                          </a:lnTo>
                          <a:lnTo>
                            <a:pt x="2" y="3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12" y="7"/>
                          </a:lnTo>
                          <a:lnTo>
                            <a:pt x="12" y="7"/>
                          </a:lnTo>
                          <a:lnTo>
                            <a:pt x="12" y="7"/>
                          </a:lnTo>
                          <a:lnTo>
                            <a:pt x="12" y="7"/>
                          </a:lnTo>
                          <a:lnTo>
                            <a:pt x="14" y="7"/>
                          </a:lnTo>
                          <a:lnTo>
                            <a:pt x="14" y="7"/>
                          </a:lnTo>
                          <a:lnTo>
                            <a:pt x="16" y="7"/>
                          </a:lnTo>
                          <a:lnTo>
                            <a:pt x="16" y="7"/>
                          </a:lnTo>
                          <a:lnTo>
                            <a:pt x="16" y="7"/>
                          </a:lnTo>
                          <a:lnTo>
                            <a:pt x="16" y="7"/>
                          </a:lnTo>
                          <a:lnTo>
                            <a:pt x="19" y="7"/>
                          </a:lnTo>
                          <a:lnTo>
                            <a:pt x="19" y="7"/>
                          </a:lnTo>
                          <a:lnTo>
                            <a:pt x="19" y="5"/>
                          </a:lnTo>
                          <a:lnTo>
                            <a:pt x="19" y="5"/>
                          </a:lnTo>
                          <a:lnTo>
                            <a:pt x="19" y="5"/>
                          </a:lnTo>
                          <a:lnTo>
                            <a:pt x="19" y="5"/>
                          </a:lnTo>
                          <a:lnTo>
                            <a:pt x="21" y="10"/>
                          </a:lnTo>
                          <a:lnTo>
                            <a:pt x="21" y="10"/>
                          </a:lnTo>
                          <a:lnTo>
                            <a:pt x="21" y="10"/>
                          </a:lnTo>
                          <a:lnTo>
                            <a:pt x="21" y="10"/>
                          </a:lnTo>
                          <a:lnTo>
                            <a:pt x="19" y="10"/>
                          </a:lnTo>
                          <a:lnTo>
                            <a:pt x="19" y="10"/>
                          </a:lnTo>
                          <a:lnTo>
                            <a:pt x="16" y="12"/>
                          </a:lnTo>
                          <a:lnTo>
                            <a:pt x="16" y="12"/>
                          </a:lnTo>
                          <a:lnTo>
                            <a:pt x="16" y="12"/>
                          </a:lnTo>
                          <a:lnTo>
                            <a:pt x="16" y="12"/>
                          </a:lnTo>
                          <a:lnTo>
                            <a:pt x="16" y="12"/>
                          </a:lnTo>
                          <a:lnTo>
                            <a:pt x="16" y="12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45" name="Freeform 1168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517" y="1225"/>
                      <a:ext cx="29" cy="16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"/>
                        </a:cxn>
                        <a:cxn ang="0">
                          <a:pos x="2" y="11"/>
                        </a:cxn>
                        <a:cxn ang="0">
                          <a:pos x="2" y="11"/>
                        </a:cxn>
                        <a:cxn ang="0">
                          <a:pos x="2" y="11"/>
                        </a:cxn>
                        <a:cxn ang="0">
                          <a:pos x="2" y="11"/>
                        </a:cxn>
                        <a:cxn ang="0">
                          <a:pos x="7" y="9"/>
                        </a:cxn>
                        <a:cxn ang="0">
                          <a:pos x="7" y="9"/>
                        </a:cxn>
                        <a:cxn ang="0">
                          <a:pos x="12" y="7"/>
                        </a:cxn>
                        <a:cxn ang="0">
                          <a:pos x="12" y="7"/>
                        </a:cxn>
                        <a:cxn ang="0">
                          <a:pos x="12" y="7"/>
                        </a:cxn>
                        <a:cxn ang="0">
                          <a:pos x="12" y="7"/>
                        </a:cxn>
                        <a:cxn ang="0">
                          <a:pos x="16" y="2"/>
                        </a:cxn>
                        <a:cxn ang="0">
                          <a:pos x="16" y="2"/>
                        </a:cxn>
                        <a:cxn ang="0">
                          <a:pos x="19" y="2"/>
                        </a:cxn>
                        <a:cxn ang="0">
                          <a:pos x="19" y="2"/>
                        </a:cxn>
                        <a:cxn ang="0">
                          <a:pos x="21" y="0"/>
                        </a:cxn>
                        <a:cxn ang="0">
                          <a:pos x="21" y="0"/>
                        </a:cxn>
                        <a:cxn ang="0">
                          <a:pos x="23" y="0"/>
                        </a:cxn>
                        <a:cxn ang="0">
                          <a:pos x="23" y="0"/>
                        </a:cxn>
                        <a:cxn ang="0">
                          <a:pos x="23" y="0"/>
                        </a:cxn>
                        <a:cxn ang="0">
                          <a:pos x="23" y="0"/>
                        </a:cxn>
                        <a:cxn ang="0">
                          <a:pos x="26" y="2"/>
                        </a:cxn>
                        <a:cxn ang="0">
                          <a:pos x="26" y="2"/>
                        </a:cxn>
                        <a:cxn ang="0">
                          <a:pos x="23" y="2"/>
                        </a:cxn>
                        <a:cxn ang="0">
                          <a:pos x="23" y="2"/>
                        </a:cxn>
                        <a:cxn ang="0">
                          <a:pos x="21" y="2"/>
                        </a:cxn>
                        <a:cxn ang="0">
                          <a:pos x="21" y="2"/>
                        </a:cxn>
                        <a:cxn ang="0">
                          <a:pos x="19" y="4"/>
                        </a:cxn>
                        <a:cxn ang="0">
                          <a:pos x="19" y="4"/>
                        </a:cxn>
                        <a:cxn ang="0">
                          <a:pos x="16" y="4"/>
                        </a:cxn>
                        <a:cxn ang="0">
                          <a:pos x="16" y="4"/>
                        </a:cxn>
                        <a:cxn ang="0">
                          <a:pos x="12" y="7"/>
                        </a:cxn>
                        <a:cxn ang="0">
                          <a:pos x="12" y="7"/>
                        </a:cxn>
                        <a:cxn ang="0">
                          <a:pos x="9" y="9"/>
                        </a:cxn>
                        <a:cxn ang="0">
                          <a:pos x="9" y="9"/>
                        </a:cxn>
                        <a:cxn ang="0">
                          <a:pos x="9" y="9"/>
                        </a:cxn>
                        <a:cxn ang="0">
                          <a:pos x="9" y="9"/>
                        </a:cxn>
                        <a:cxn ang="0">
                          <a:pos x="7" y="9"/>
                        </a:cxn>
                        <a:cxn ang="0">
                          <a:pos x="7" y="9"/>
                        </a:cxn>
                        <a:cxn ang="0">
                          <a:pos x="4" y="11"/>
                        </a:cxn>
                        <a:cxn ang="0">
                          <a:pos x="4" y="11"/>
                        </a:cxn>
                        <a:cxn ang="0">
                          <a:pos x="4" y="11"/>
                        </a:cxn>
                        <a:cxn ang="0">
                          <a:pos x="4" y="11"/>
                        </a:cxn>
                        <a:cxn ang="0">
                          <a:pos x="2" y="14"/>
                        </a:cxn>
                        <a:cxn ang="0">
                          <a:pos x="2" y="14"/>
                        </a:cxn>
                        <a:cxn ang="0">
                          <a:pos x="2" y="14"/>
                        </a:cxn>
                        <a:cxn ang="0">
                          <a:pos x="2" y="14"/>
                        </a:cxn>
                        <a:cxn ang="0">
                          <a:pos x="0" y="14"/>
                        </a:cxn>
                        <a:cxn ang="0">
                          <a:pos x="0" y="14"/>
                        </a:cxn>
                        <a:cxn ang="0">
                          <a:pos x="0" y="14"/>
                        </a:cxn>
                        <a:cxn ang="0">
                          <a:pos x="0" y="14"/>
                        </a:cxn>
                      </a:cxnLst>
                      <a:rect l="0" t="0" r="r" b="b"/>
                      <a:pathLst>
                        <a:path w="26" h="14">
                          <a:moveTo>
                            <a:pt x="0" y="14"/>
                          </a:moveTo>
                          <a:lnTo>
                            <a:pt x="2" y="11"/>
                          </a:lnTo>
                          <a:lnTo>
                            <a:pt x="2" y="11"/>
                          </a:lnTo>
                          <a:lnTo>
                            <a:pt x="2" y="11"/>
                          </a:lnTo>
                          <a:lnTo>
                            <a:pt x="2" y="11"/>
                          </a:lnTo>
                          <a:lnTo>
                            <a:pt x="7" y="9"/>
                          </a:lnTo>
                          <a:lnTo>
                            <a:pt x="7" y="9"/>
                          </a:lnTo>
                          <a:lnTo>
                            <a:pt x="12" y="7"/>
                          </a:lnTo>
                          <a:lnTo>
                            <a:pt x="12" y="7"/>
                          </a:lnTo>
                          <a:lnTo>
                            <a:pt x="12" y="7"/>
                          </a:lnTo>
                          <a:lnTo>
                            <a:pt x="12" y="7"/>
                          </a:lnTo>
                          <a:lnTo>
                            <a:pt x="16" y="2"/>
                          </a:lnTo>
                          <a:lnTo>
                            <a:pt x="16" y="2"/>
                          </a:lnTo>
                          <a:lnTo>
                            <a:pt x="19" y="2"/>
                          </a:lnTo>
                          <a:lnTo>
                            <a:pt x="19" y="2"/>
                          </a:lnTo>
                          <a:lnTo>
                            <a:pt x="21" y="0"/>
                          </a:lnTo>
                          <a:lnTo>
                            <a:pt x="21" y="0"/>
                          </a:lnTo>
                          <a:lnTo>
                            <a:pt x="23" y="0"/>
                          </a:lnTo>
                          <a:lnTo>
                            <a:pt x="23" y="0"/>
                          </a:lnTo>
                          <a:lnTo>
                            <a:pt x="23" y="0"/>
                          </a:lnTo>
                          <a:lnTo>
                            <a:pt x="23" y="0"/>
                          </a:lnTo>
                          <a:lnTo>
                            <a:pt x="26" y="2"/>
                          </a:lnTo>
                          <a:lnTo>
                            <a:pt x="26" y="2"/>
                          </a:lnTo>
                          <a:lnTo>
                            <a:pt x="23" y="2"/>
                          </a:lnTo>
                          <a:lnTo>
                            <a:pt x="23" y="2"/>
                          </a:lnTo>
                          <a:lnTo>
                            <a:pt x="21" y="2"/>
                          </a:lnTo>
                          <a:lnTo>
                            <a:pt x="21" y="2"/>
                          </a:lnTo>
                          <a:lnTo>
                            <a:pt x="19" y="4"/>
                          </a:lnTo>
                          <a:lnTo>
                            <a:pt x="19" y="4"/>
                          </a:lnTo>
                          <a:lnTo>
                            <a:pt x="16" y="4"/>
                          </a:lnTo>
                          <a:lnTo>
                            <a:pt x="16" y="4"/>
                          </a:lnTo>
                          <a:lnTo>
                            <a:pt x="12" y="7"/>
                          </a:lnTo>
                          <a:lnTo>
                            <a:pt x="12" y="7"/>
                          </a:lnTo>
                          <a:lnTo>
                            <a:pt x="9" y="9"/>
                          </a:lnTo>
                          <a:lnTo>
                            <a:pt x="9" y="9"/>
                          </a:lnTo>
                          <a:lnTo>
                            <a:pt x="9" y="9"/>
                          </a:lnTo>
                          <a:lnTo>
                            <a:pt x="9" y="9"/>
                          </a:lnTo>
                          <a:lnTo>
                            <a:pt x="7" y="9"/>
                          </a:lnTo>
                          <a:lnTo>
                            <a:pt x="7" y="9"/>
                          </a:lnTo>
                          <a:lnTo>
                            <a:pt x="4" y="11"/>
                          </a:lnTo>
                          <a:lnTo>
                            <a:pt x="4" y="11"/>
                          </a:lnTo>
                          <a:lnTo>
                            <a:pt x="4" y="11"/>
                          </a:lnTo>
                          <a:lnTo>
                            <a:pt x="4" y="11"/>
                          </a:lnTo>
                          <a:lnTo>
                            <a:pt x="2" y="14"/>
                          </a:lnTo>
                          <a:lnTo>
                            <a:pt x="2" y="14"/>
                          </a:lnTo>
                          <a:lnTo>
                            <a:pt x="2" y="14"/>
                          </a:lnTo>
                          <a:lnTo>
                            <a:pt x="2" y="14"/>
                          </a:lnTo>
                          <a:lnTo>
                            <a:pt x="0" y="14"/>
                          </a:lnTo>
                          <a:lnTo>
                            <a:pt x="0" y="14"/>
                          </a:lnTo>
                          <a:lnTo>
                            <a:pt x="0" y="14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46" name="Freeform 1169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568" y="1229"/>
                      <a:ext cx="32" cy="20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5"/>
                        </a:cxn>
                        <a:cxn ang="0">
                          <a:pos x="0" y="15"/>
                        </a:cxn>
                        <a:cxn ang="0">
                          <a:pos x="2" y="15"/>
                        </a:cxn>
                        <a:cxn ang="0">
                          <a:pos x="4" y="15"/>
                        </a:cxn>
                        <a:cxn ang="0">
                          <a:pos x="7" y="12"/>
                        </a:cxn>
                        <a:cxn ang="0">
                          <a:pos x="9" y="10"/>
                        </a:cxn>
                        <a:cxn ang="0">
                          <a:pos x="11" y="7"/>
                        </a:cxn>
                        <a:cxn ang="0">
                          <a:pos x="14" y="7"/>
                        </a:cxn>
                        <a:cxn ang="0">
                          <a:pos x="14" y="7"/>
                        </a:cxn>
                        <a:cxn ang="0">
                          <a:pos x="14" y="7"/>
                        </a:cxn>
                        <a:cxn ang="0">
                          <a:pos x="14" y="7"/>
                        </a:cxn>
                        <a:cxn ang="0">
                          <a:pos x="16" y="5"/>
                        </a:cxn>
                        <a:cxn ang="0">
                          <a:pos x="16" y="5"/>
                        </a:cxn>
                        <a:cxn ang="0">
                          <a:pos x="16" y="5"/>
                        </a:cxn>
                        <a:cxn ang="0">
                          <a:pos x="16" y="5"/>
                        </a:cxn>
                        <a:cxn ang="0">
                          <a:pos x="16" y="5"/>
                        </a:cxn>
                        <a:cxn ang="0">
                          <a:pos x="16" y="3"/>
                        </a:cxn>
                        <a:cxn ang="0">
                          <a:pos x="16" y="3"/>
                        </a:cxn>
                        <a:cxn ang="0">
                          <a:pos x="16" y="3"/>
                        </a:cxn>
                        <a:cxn ang="0">
                          <a:pos x="21" y="0"/>
                        </a:cxn>
                        <a:cxn ang="0">
                          <a:pos x="23" y="3"/>
                        </a:cxn>
                        <a:cxn ang="0">
                          <a:pos x="23" y="5"/>
                        </a:cxn>
                        <a:cxn ang="0">
                          <a:pos x="23" y="5"/>
                        </a:cxn>
                        <a:cxn ang="0">
                          <a:pos x="23" y="5"/>
                        </a:cxn>
                        <a:cxn ang="0">
                          <a:pos x="26" y="5"/>
                        </a:cxn>
                        <a:cxn ang="0">
                          <a:pos x="26" y="5"/>
                        </a:cxn>
                        <a:cxn ang="0">
                          <a:pos x="26" y="5"/>
                        </a:cxn>
                        <a:cxn ang="0">
                          <a:pos x="26" y="7"/>
                        </a:cxn>
                        <a:cxn ang="0">
                          <a:pos x="26" y="7"/>
                        </a:cxn>
                        <a:cxn ang="0">
                          <a:pos x="28" y="7"/>
                        </a:cxn>
                        <a:cxn ang="0">
                          <a:pos x="28" y="7"/>
                        </a:cxn>
                        <a:cxn ang="0">
                          <a:pos x="28" y="7"/>
                        </a:cxn>
                        <a:cxn ang="0">
                          <a:pos x="28" y="10"/>
                        </a:cxn>
                        <a:cxn ang="0">
                          <a:pos x="28" y="10"/>
                        </a:cxn>
                        <a:cxn ang="0">
                          <a:pos x="23" y="12"/>
                        </a:cxn>
                        <a:cxn ang="0">
                          <a:pos x="18" y="12"/>
                        </a:cxn>
                        <a:cxn ang="0">
                          <a:pos x="18" y="12"/>
                        </a:cxn>
                        <a:cxn ang="0">
                          <a:pos x="18" y="12"/>
                        </a:cxn>
                        <a:cxn ang="0">
                          <a:pos x="18" y="10"/>
                        </a:cxn>
                        <a:cxn ang="0">
                          <a:pos x="18" y="10"/>
                        </a:cxn>
                        <a:cxn ang="0">
                          <a:pos x="18" y="10"/>
                        </a:cxn>
                        <a:cxn ang="0">
                          <a:pos x="18" y="10"/>
                        </a:cxn>
                        <a:cxn ang="0">
                          <a:pos x="18" y="10"/>
                        </a:cxn>
                        <a:cxn ang="0">
                          <a:pos x="18" y="10"/>
                        </a:cxn>
                        <a:cxn ang="0">
                          <a:pos x="18" y="10"/>
                        </a:cxn>
                        <a:cxn ang="0">
                          <a:pos x="18" y="10"/>
                        </a:cxn>
                        <a:cxn ang="0">
                          <a:pos x="18" y="10"/>
                        </a:cxn>
                        <a:cxn ang="0">
                          <a:pos x="16" y="10"/>
                        </a:cxn>
                        <a:cxn ang="0">
                          <a:pos x="16" y="10"/>
                        </a:cxn>
                        <a:cxn ang="0">
                          <a:pos x="11" y="10"/>
                        </a:cxn>
                        <a:cxn ang="0">
                          <a:pos x="7" y="12"/>
                        </a:cxn>
                        <a:cxn ang="0">
                          <a:pos x="4" y="15"/>
                        </a:cxn>
                        <a:cxn ang="0">
                          <a:pos x="4" y="17"/>
                        </a:cxn>
                        <a:cxn ang="0">
                          <a:pos x="2" y="17"/>
                        </a:cxn>
                        <a:cxn ang="0">
                          <a:pos x="2" y="17"/>
                        </a:cxn>
                        <a:cxn ang="0">
                          <a:pos x="2" y="17"/>
                        </a:cxn>
                      </a:cxnLst>
                      <a:rect l="0" t="0" r="r" b="b"/>
                      <a:pathLst>
                        <a:path w="28" h="17">
                          <a:moveTo>
                            <a:pt x="2" y="17"/>
                          </a:moveTo>
                          <a:lnTo>
                            <a:pt x="0" y="15"/>
                          </a:lnTo>
                          <a:lnTo>
                            <a:pt x="0" y="15"/>
                          </a:lnTo>
                          <a:lnTo>
                            <a:pt x="0" y="15"/>
                          </a:lnTo>
                          <a:lnTo>
                            <a:pt x="0" y="15"/>
                          </a:lnTo>
                          <a:lnTo>
                            <a:pt x="2" y="15"/>
                          </a:lnTo>
                          <a:lnTo>
                            <a:pt x="2" y="15"/>
                          </a:lnTo>
                          <a:lnTo>
                            <a:pt x="4" y="15"/>
                          </a:lnTo>
                          <a:lnTo>
                            <a:pt x="4" y="15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9" y="10"/>
                          </a:lnTo>
                          <a:lnTo>
                            <a:pt x="9" y="10"/>
                          </a:lnTo>
                          <a:lnTo>
                            <a:pt x="11" y="7"/>
                          </a:lnTo>
                          <a:lnTo>
                            <a:pt x="11" y="7"/>
                          </a:lnTo>
                          <a:lnTo>
                            <a:pt x="14" y="7"/>
                          </a:lnTo>
                          <a:lnTo>
                            <a:pt x="14" y="7"/>
                          </a:lnTo>
                          <a:lnTo>
                            <a:pt x="14" y="7"/>
                          </a:lnTo>
                          <a:lnTo>
                            <a:pt x="14" y="7"/>
                          </a:lnTo>
                          <a:lnTo>
                            <a:pt x="14" y="7"/>
                          </a:lnTo>
                          <a:lnTo>
                            <a:pt x="14" y="7"/>
                          </a:lnTo>
                          <a:lnTo>
                            <a:pt x="14" y="7"/>
                          </a:lnTo>
                          <a:lnTo>
                            <a:pt x="14" y="7"/>
                          </a:lnTo>
                          <a:lnTo>
                            <a:pt x="16" y="5"/>
                          </a:lnTo>
                          <a:lnTo>
                            <a:pt x="16" y="5"/>
                          </a:lnTo>
                          <a:lnTo>
                            <a:pt x="16" y="5"/>
                          </a:lnTo>
                          <a:lnTo>
                            <a:pt x="16" y="5"/>
                          </a:lnTo>
                          <a:lnTo>
                            <a:pt x="16" y="5"/>
                          </a:lnTo>
                          <a:lnTo>
                            <a:pt x="16" y="5"/>
                          </a:lnTo>
                          <a:lnTo>
                            <a:pt x="16" y="5"/>
                          </a:lnTo>
                          <a:lnTo>
                            <a:pt x="16" y="5"/>
                          </a:lnTo>
                          <a:lnTo>
                            <a:pt x="16" y="5"/>
                          </a:lnTo>
                          <a:lnTo>
                            <a:pt x="16" y="5"/>
                          </a:lnTo>
                          <a:lnTo>
                            <a:pt x="16" y="3"/>
                          </a:lnTo>
                          <a:lnTo>
                            <a:pt x="16" y="3"/>
                          </a:lnTo>
                          <a:lnTo>
                            <a:pt x="16" y="3"/>
                          </a:lnTo>
                          <a:lnTo>
                            <a:pt x="16" y="3"/>
                          </a:lnTo>
                          <a:lnTo>
                            <a:pt x="16" y="3"/>
                          </a:lnTo>
                          <a:lnTo>
                            <a:pt x="16" y="3"/>
                          </a:lnTo>
                          <a:lnTo>
                            <a:pt x="21" y="0"/>
                          </a:lnTo>
                          <a:lnTo>
                            <a:pt x="21" y="0"/>
                          </a:lnTo>
                          <a:lnTo>
                            <a:pt x="23" y="3"/>
                          </a:lnTo>
                          <a:lnTo>
                            <a:pt x="23" y="3"/>
                          </a:lnTo>
                          <a:lnTo>
                            <a:pt x="23" y="5"/>
                          </a:lnTo>
                          <a:lnTo>
                            <a:pt x="23" y="5"/>
                          </a:lnTo>
                          <a:lnTo>
                            <a:pt x="23" y="5"/>
                          </a:lnTo>
                          <a:lnTo>
                            <a:pt x="23" y="5"/>
                          </a:lnTo>
                          <a:lnTo>
                            <a:pt x="23" y="5"/>
                          </a:lnTo>
                          <a:lnTo>
                            <a:pt x="23" y="5"/>
                          </a:lnTo>
                          <a:lnTo>
                            <a:pt x="26" y="5"/>
                          </a:lnTo>
                          <a:lnTo>
                            <a:pt x="26" y="5"/>
                          </a:lnTo>
                          <a:lnTo>
                            <a:pt x="26" y="5"/>
                          </a:lnTo>
                          <a:lnTo>
                            <a:pt x="26" y="5"/>
                          </a:lnTo>
                          <a:lnTo>
                            <a:pt x="26" y="5"/>
                          </a:lnTo>
                          <a:lnTo>
                            <a:pt x="26" y="5"/>
                          </a:lnTo>
                          <a:lnTo>
                            <a:pt x="26" y="7"/>
                          </a:lnTo>
                          <a:lnTo>
                            <a:pt x="26" y="7"/>
                          </a:lnTo>
                          <a:lnTo>
                            <a:pt x="26" y="7"/>
                          </a:lnTo>
                          <a:lnTo>
                            <a:pt x="26" y="7"/>
                          </a:lnTo>
                          <a:lnTo>
                            <a:pt x="28" y="7"/>
                          </a:lnTo>
                          <a:lnTo>
                            <a:pt x="28" y="7"/>
                          </a:lnTo>
                          <a:lnTo>
                            <a:pt x="28" y="7"/>
                          </a:lnTo>
                          <a:lnTo>
                            <a:pt x="28" y="7"/>
                          </a:lnTo>
                          <a:lnTo>
                            <a:pt x="28" y="7"/>
                          </a:lnTo>
                          <a:lnTo>
                            <a:pt x="28" y="7"/>
                          </a:lnTo>
                          <a:lnTo>
                            <a:pt x="28" y="10"/>
                          </a:lnTo>
                          <a:lnTo>
                            <a:pt x="28" y="10"/>
                          </a:lnTo>
                          <a:lnTo>
                            <a:pt x="28" y="10"/>
                          </a:lnTo>
                          <a:lnTo>
                            <a:pt x="28" y="10"/>
                          </a:lnTo>
                          <a:lnTo>
                            <a:pt x="23" y="12"/>
                          </a:lnTo>
                          <a:lnTo>
                            <a:pt x="23" y="12"/>
                          </a:lnTo>
                          <a:lnTo>
                            <a:pt x="18" y="12"/>
                          </a:lnTo>
                          <a:lnTo>
                            <a:pt x="18" y="12"/>
                          </a:lnTo>
                          <a:lnTo>
                            <a:pt x="18" y="12"/>
                          </a:lnTo>
                          <a:lnTo>
                            <a:pt x="18" y="12"/>
                          </a:lnTo>
                          <a:lnTo>
                            <a:pt x="18" y="12"/>
                          </a:lnTo>
                          <a:lnTo>
                            <a:pt x="18" y="12"/>
                          </a:lnTo>
                          <a:lnTo>
                            <a:pt x="18" y="10"/>
                          </a:lnTo>
                          <a:lnTo>
                            <a:pt x="18" y="10"/>
                          </a:lnTo>
                          <a:lnTo>
                            <a:pt x="18" y="10"/>
                          </a:lnTo>
                          <a:lnTo>
                            <a:pt x="18" y="10"/>
                          </a:lnTo>
                          <a:lnTo>
                            <a:pt x="18" y="10"/>
                          </a:lnTo>
                          <a:lnTo>
                            <a:pt x="18" y="10"/>
                          </a:lnTo>
                          <a:lnTo>
                            <a:pt x="18" y="10"/>
                          </a:lnTo>
                          <a:lnTo>
                            <a:pt x="18" y="10"/>
                          </a:lnTo>
                          <a:lnTo>
                            <a:pt x="18" y="10"/>
                          </a:lnTo>
                          <a:lnTo>
                            <a:pt x="18" y="10"/>
                          </a:lnTo>
                          <a:lnTo>
                            <a:pt x="18" y="10"/>
                          </a:lnTo>
                          <a:lnTo>
                            <a:pt x="18" y="10"/>
                          </a:lnTo>
                          <a:lnTo>
                            <a:pt x="18" y="10"/>
                          </a:lnTo>
                          <a:lnTo>
                            <a:pt x="18" y="10"/>
                          </a:lnTo>
                          <a:lnTo>
                            <a:pt x="18" y="10"/>
                          </a:lnTo>
                          <a:lnTo>
                            <a:pt x="18" y="10"/>
                          </a:lnTo>
                          <a:lnTo>
                            <a:pt x="18" y="10"/>
                          </a:lnTo>
                          <a:lnTo>
                            <a:pt x="18" y="10"/>
                          </a:lnTo>
                          <a:lnTo>
                            <a:pt x="16" y="10"/>
                          </a:lnTo>
                          <a:lnTo>
                            <a:pt x="16" y="10"/>
                          </a:lnTo>
                          <a:lnTo>
                            <a:pt x="16" y="10"/>
                          </a:lnTo>
                          <a:lnTo>
                            <a:pt x="16" y="10"/>
                          </a:lnTo>
                          <a:lnTo>
                            <a:pt x="11" y="10"/>
                          </a:lnTo>
                          <a:lnTo>
                            <a:pt x="11" y="10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4" y="15"/>
                          </a:lnTo>
                          <a:lnTo>
                            <a:pt x="4" y="15"/>
                          </a:lnTo>
                          <a:lnTo>
                            <a:pt x="4" y="17"/>
                          </a:lnTo>
                          <a:lnTo>
                            <a:pt x="4" y="17"/>
                          </a:lnTo>
                          <a:lnTo>
                            <a:pt x="2" y="17"/>
                          </a:lnTo>
                          <a:lnTo>
                            <a:pt x="2" y="17"/>
                          </a:lnTo>
                          <a:lnTo>
                            <a:pt x="2" y="17"/>
                          </a:lnTo>
                          <a:lnTo>
                            <a:pt x="2" y="17"/>
                          </a:lnTo>
                          <a:lnTo>
                            <a:pt x="2" y="17"/>
                          </a:lnTo>
                          <a:lnTo>
                            <a:pt x="2" y="17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47" name="Freeform 1170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656" y="1235"/>
                      <a:ext cx="13" cy="8"/>
                    </a:xfrm>
                    <a:custGeom>
                      <a:avLst/>
                      <a:gdLst/>
                      <a:ahLst/>
                      <a:cxnLst>
                        <a:cxn ang="0">
                          <a:pos x="9" y="7"/>
                        </a:cxn>
                        <a:cxn ang="0">
                          <a:pos x="9" y="5"/>
                        </a:cxn>
                        <a:cxn ang="0">
                          <a:pos x="9" y="5"/>
                        </a:cxn>
                        <a:cxn ang="0">
                          <a:pos x="9" y="5"/>
                        </a:cxn>
                        <a:cxn ang="0">
                          <a:pos x="9" y="5"/>
                        </a:cxn>
                        <a:cxn ang="0">
                          <a:pos x="9" y="5"/>
                        </a:cxn>
                        <a:cxn ang="0">
                          <a:pos x="9" y="5"/>
                        </a:cxn>
                        <a:cxn ang="0">
                          <a:pos x="9" y="5"/>
                        </a:cxn>
                        <a:cxn ang="0">
                          <a:pos x="9" y="5"/>
                        </a:cxn>
                        <a:cxn ang="0">
                          <a:pos x="9" y="2"/>
                        </a:cxn>
                        <a:cxn ang="0">
                          <a:pos x="9" y="2"/>
                        </a:cxn>
                        <a:cxn ang="0">
                          <a:pos x="9" y="2"/>
                        </a:cxn>
                        <a:cxn ang="0">
                          <a:pos x="9" y="2"/>
                        </a:cxn>
                        <a:cxn ang="0">
                          <a:pos x="9" y="2"/>
                        </a:cxn>
                        <a:cxn ang="0">
                          <a:pos x="9" y="2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4" y="2"/>
                        </a:cxn>
                        <a:cxn ang="0">
                          <a:pos x="4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5"/>
                        </a:cxn>
                        <a:cxn ang="0">
                          <a:pos x="2" y="5"/>
                        </a:cxn>
                        <a:cxn ang="0">
                          <a:pos x="2" y="5"/>
                        </a:cxn>
                        <a:cxn ang="0">
                          <a:pos x="2" y="5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4" y="0"/>
                        </a:cxn>
                        <a:cxn ang="0">
                          <a:pos x="4" y="0"/>
                        </a:cxn>
                        <a:cxn ang="0">
                          <a:pos x="9" y="0"/>
                        </a:cxn>
                        <a:cxn ang="0">
                          <a:pos x="9" y="0"/>
                        </a:cxn>
                        <a:cxn ang="0">
                          <a:pos x="9" y="0"/>
                        </a:cxn>
                        <a:cxn ang="0">
                          <a:pos x="9" y="0"/>
                        </a:cxn>
                        <a:cxn ang="0">
                          <a:pos x="9" y="2"/>
                        </a:cxn>
                        <a:cxn ang="0">
                          <a:pos x="9" y="2"/>
                        </a:cxn>
                        <a:cxn ang="0">
                          <a:pos x="11" y="2"/>
                        </a:cxn>
                        <a:cxn ang="0">
                          <a:pos x="11" y="2"/>
                        </a:cxn>
                        <a:cxn ang="0">
                          <a:pos x="11" y="2"/>
                        </a:cxn>
                        <a:cxn ang="0">
                          <a:pos x="11" y="2"/>
                        </a:cxn>
                        <a:cxn ang="0">
                          <a:pos x="11" y="5"/>
                        </a:cxn>
                        <a:cxn ang="0">
                          <a:pos x="11" y="5"/>
                        </a:cxn>
                        <a:cxn ang="0">
                          <a:pos x="9" y="5"/>
                        </a:cxn>
                        <a:cxn ang="0">
                          <a:pos x="9" y="5"/>
                        </a:cxn>
                        <a:cxn ang="0">
                          <a:pos x="9" y="5"/>
                        </a:cxn>
                        <a:cxn ang="0">
                          <a:pos x="9" y="5"/>
                        </a:cxn>
                        <a:cxn ang="0">
                          <a:pos x="9" y="7"/>
                        </a:cxn>
                        <a:cxn ang="0">
                          <a:pos x="9" y="7"/>
                        </a:cxn>
                        <a:cxn ang="0">
                          <a:pos x="9" y="7"/>
                        </a:cxn>
                        <a:cxn ang="0">
                          <a:pos x="9" y="7"/>
                        </a:cxn>
                      </a:cxnLst>
                      <a:rect l="0" t="0" r="r" b="b"/>
                      <a:pathLst>
                        <a:path w="11" h="7">
                          <a:moveTo>
                            <a:pt x="9" y="7"/>
                          </a:moveTo>
                          <a:lnTo>
                            <a:pt x="9" y="5"/>
                          </a:lnTo>
                          <a:lnTo>
                            <a:pt x="9" y="5"/>
                          </a:lnTo>
                          <a:lnTo>
                            <a:pt x="9" y="5"/>
                          </a:lnTo>
                          <a:lnTo>
                            <a:pt x="9" y="5"/>
                          </a:lnTo>
                          <a:lnTo>
                            <a:pt x="9" y="5"/>
                          </a:lnTo>
                          <a:lnTo>
                            <a:pt x="9" y="5"/>
                          </a:lnTo>
                          <a:lnTo>
                            <a:pt x="9" y="5"/>
                          </a:lnTo>
                          <a:lnTo>
                            <a:pt x="9" y="5"/>
                          </a:lnTo>
                          <a:lnTo>
                            <a:pt x="9" y="2"/>
                          </a:lnTo>
                          <a:lnTo>
                            <a:pt x="9" y="2"/>
                          </a:lnTo>
                          <a:lnTo>
                            <a:pt x="9" y="2"/>
                          </a:lnTo>
                          <a:lnTo>
                            <a:pt x="9" y="2"/>
                          </a:lnTo>
                          <a:lnTo>
                            <a:pt x="9" y="2"/>
                          </a:lnTo>
                          <a:lnTo>
                            <a:pt x="9" y="2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4" y="2"/>
                          </a:lnTo>
                          <a:lnTo>
                            <a:pt x="4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4" y="0"/>
                          </a:lnTo>
                          <a:lnTo>
                            <a:pt x="4" y="0"/>
                          </a:lnTo>
                          <a:lnTo>
                            <a:pt x="9" y="0"/>
                          </a:lnTo>
                          <a:lnTo>
                            <a:pt x="9" y="0"/>
                          </a:lnTo>
                          <a:lnTo>
                            <a:pt x="9" y="0"/>
                          </a:lnTo>
                          <a:lnTo>
                            <a:pt x="9" y="0"/>
                          </a:lnTo>
                          <a:lnTo>
                            <a:pt x="9" y="2"/>
                          </a:lnTo>
                          <a:lnTo>
                            <a:pt x="9" y="2"/>
                          </a:lnTo>
                          <a:lnTo>
                            <a:pt x="11" y="2"/>
                          </a:lnTo>
                          <a:lnTo>
                            <a:pt x="11" y="2"/>
                          </a:lnTo>
                          <a:lnTo>
                            <a:pt x="11" y="2"/>
                          </a:lnTo>
                          <a:lnTo>
                            <a:pt x="11" y="2"/>
                          </a:lnTo>
                          <a:lnTo>
                            <a:pt x="11" y="5"/>
                          </a:lnTo>
                          <a:lnTo>
                            <a:pt x="11" y="5"/>
                          </a:lnTo>
                          <a:lnTo>
                            <a:pt x="9" y="5"/>
                          </a:lnTo>
                          <a:lnTo>
                            <a:pt x="9" y="5"/>
                          </a:lnTo>
                          <a:lnTo>
                            <a:pt x="9" y="5"/>
                          </a:lnTo>
                          <a:lnTo>
                            <a:pt x="9" y="5"/>
                          </a:lnTo>
                          <a:lnTo>
                            <a:pt x="9" y="7"/>
                          </a:lnTo>
                          <a:lnTo>
                            <a:pt x="9" y="7"/>
                          </a:lnTo>
                          <a:lnTo>
                            <a:pt x="9" y="7"/>
                          </a:lnTo>
                          <a:lnTo>
                            <a:pt x="9" y="7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48" name="Freeform 1171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677" y="1237"/>
                      <a:ext cx="9" cy="9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8"/>
                        </a:cxn>
                        <a:cxn ang="0">
                          <a:pos x="0" y="8"/>
                        </a:cxn>
                        <a:cxn ang="0">
                          <a:pos x="0" y="8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3" y="3"/>
                        </a:cxn>
                        <a:cxn ang="0">
                          <a:pos x="3" y="3"/>
                        </a:cxn>
                        <a:cxn ang="0">
                          <a:pos x="8" y="0"/>
                        </a:cxn>
                        <a:cxn ang="0">
                          <a:pos x="8" y="0"/>
                        </a:cxn>
                        <a:cxn ang="0">
                          <a:pos x="8" y="0"/>
                        </a:cxn>
                        <a:cxn ang="0">
                          <a:pos x="8" y="0"/>
                        </a:cxn>
                        <a:cxn ang="0">
                          <a:pos x="8" y="5"/>
                        </a:cxn>
                        <a:cxn ang="0">
                          <a:pos x="8" y="5"/>
                        </a:cxn>
                        <a:cxn ang="0">
                          <a:pos x="5" y="8"/>
                        </a:cxn>
                        <a:cxn ang="0">
                          <a:pos x="5" y="8"/>
                        </a:cxn>
                        <a:cxn ang="0">
                          <a:pos x="5" y="8"/>
                        </a:cxn>
                        <a:cxn ang="0">
                          <a:pos x="5" y="8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3" y="5"/>
                        </a:cxn>
                        <a:cxn ang="0">
                          <a:pos x="3" y="5"/>
                        </a:cxn>
                        <a:cxn ang="0">
                          <a:pos x="3" y="5"/>
                        </a:cxn>
                        <a:cxn ang="0">
                          <a:pos x="3" y="5"/>
                        </a:cxn>
                        <a:cxn ang="0">
                          <a:pos x="3" y="5"/>
                        </a:cxn>
                        <a:cxn ang="0">
                          <a:pos x="3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8"/>
                        </a:cxn>
                        <a:cxn ang="0">
                          <a:pos x="0" y="8"/>
                        </a:cxn>
                        <a:cxn ang="0">
                          <a:pos x="0" y="8"/>
                        </a:cxn>
                        <a:cxn ang="0">
                          <a:pos x="0" y="8"/>
                        </a:cxn>
                      </a:cxnLst>
                      <a:rect l="0" t="0" r="r" b="b"/>
                      <a:pathLst>
                        <a:path w="8" h="8">
                          <a:moveTo>
                            <a:pt x="0" y="8"/>
                          </a:moveTo>
                          <a:lnTo>
                            <a:pt x="0" y="8"/>
                          </a:lnTo>
                          <a:lnTo>
                            <a:pt x="0" y="8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3" y="3"/>
                          </a:lnTo>
                          <a:lnTo>
                            <a:pt x="3" y="3"/>
                          </a:lnTo>
                          <a:lnTo>
                            <a:pt x="8" y="0"/>
                          </a:lnTo>
                          <a:lnTo>
                            <a:pt x="8" y="0"/>
                          </a:lnTo>
                          <a:lnTo>
                            <a:pt x="8" y="0"/>
                          </a:lnTo>
                          <a:lnTo>
                            <a:pt x="8" y="0"/>
                          </a:lnTo>
                          <a:lnTo>
                            <a:pt x="8" y="5"/>
                          </a:lnTo>
                          <a:lnTo>
                            <a:pt x="8" y="5"/>
                          </a:lnTo>
                          <a:lnTo>
                            <a:pt x="5" y="8"/>
                          </a:lnTo>
                          <a:lnTo>
                            <a:pt x="5" y="8"/>
                          </a:lnTo>
                          <a:lnTo>
                            <a:pt x="5" y="8"/>
                          </a:lnTo>
                          <a:lnTo>
                            <a:pt x="5" y="8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3" y="5"/>
                          </a:lnTo>
                          <a:lnTo>
                            <a:pt x="3" y="5"/>
                          </a:lnTo>
                          <a:lnTo>
                            <a:pt x="3" y="5"/>
                          </a:lnTo>
                          <a:lnTo>
                            <a:pt x="3" y="5"/>
                          </a:lnTo>
                          <a:lnTo>
                            <a:pt x="3" y="5"/>
                          </a:lnTo>
                          <a:lnTo>
                            <a:pt x="3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8"/>
                          </a:lnTo>
                          <a:lnTo>
                            <a:pt x="0" y="8"/>
                          </a:lnTo>
                          <a:lnTo>
                            <a:pt x="0" y="8"/>
                          </a:lnTo>
                          <a:lnTo>
                            <a:pt x="0" y="8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49" name="Freeform 1172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672" y="1243"/>
                      <a:ext cx="38" cy="41"/>
                    </a:xfrm>
                    <a:custGeom>
                      <a:avLst/>
                      <a:gdLst/>
                      <a:ahLst/>
                      <a:cxnLst>
                        <a:cxn ang="0">
                          <a:pos x="14" y="36"/>
                        </a:cxn>
                        <a:cxn ang="0">
                          <a:pos x="12" y="31"/>
                        </a:cxn>
                        <a:cxn ang="0">
                          <a:pos x="12" y="31"/>
                        </a:cxn>
                        <a:cxn ang="0">
                          <a:pos x="4" y="29"/>
                        </a:cxn>
                        <a:cxn ang="0">
                          <a:pos x="4" y="29"/>
                        </a:cxn>
                        <a:cxn ang="0">
                          <a:pos x="2" y="31"/>
                        </a:cxn>
                        <a:cxn ang="0">
                          <a:pos x="0" y="29"/>
                        </a:cxn>
                        <a:cxn ang="0">
                          <a:pos x="0" y="29"/>
                        </a:cxn>
                        <a:cxn ang="0">
                          <a:pos x="2" y="26"/>
                        </a:cxn>
                        <a:cxn ang="0">
                          <a:pos x="4" y="26"/>
                        </a:cxn>
                        <a:cxn ang="0">
                          <a:pos x="4" y="26"/>
                        </a:cxn>
                        <a:cxn ang="0">
                          <a:pos x="7" y="26"/>
                        </a:cxn>
                        <a:cxn ang="0">
                          <a:pos x="9" y="24"/>
                        </a:cxn>
                        <a:cxn ang="0">
                          <a:pos x="12" y="24"/>
                        </a:cxn>
                        <a:cxn ang="0">
                          <a:pos x="12" y="24"/>
                        </a:cxn>
                        <a:cxn ang="0">
                          <a:pos x="16" y="21"/>
                        </a:cxn>
                        <a:cxn ang="0">
                          <a:pos x="14" y="26"/>
                        </a:cxn>
                        <a:cxn ang="0">
                          <a:pos x="14" y="26"/>
                        </a:cxn>
                        <a:cxn ang="0">
                          <a:pos x="16" y="31"/>
                        </a:cxn>
                        <a:cxn ang="0">
                          <a:pos x="16" y="31"/>
                        </a:cxn>
                        <a:cxn ang="0">
                          <a:pos x="16" y="31"/>
                        </a:cxn>
                        <a:cxn ang="0">
                          <a:pos x="16" y="29"/>
                        </a:cxn>
                        <a:cxn ang="0">
                          <a:pos x="19" y="21"/>
                        </a:cxn>
                        <a:cxn ang="0">
                          <a:pos x="21" y="21"/>
                        </a:cxn>
                        <a:cxn ang="0">
                          <a:pos x="21" y="19"/>
                        </a:cxn>
                        <a:cxn ang="0">
                          <a:pos x="26" y="17"/>
                        </a:cxn>
                        <a:cxn ang="0">
                          <a:pos x="26" y="17"/>
                        </a:cxn>
                        <a:cxn ang="0">
                          <a:pos x="23" y="10"/>
                        </a:cxn>
                        <a:cxn ang="0">
                          <a:pos x="23" y="10"/>
                        </a:cxn>
                        <a:cxn ang="0">
                          <a:pos x="19" y="7"/>
                        </a:cxn>
                        <a:cxn ang="0">
                          <a:pos x="19" y="7"/>
                        </a:cxn>
                        <a:cxn ang="0">
                          <a:pos x="16" y="7"/>
                        </a:cxn>
                        <a:cxn ang="0">
                          <a:pos x="19" y="3"/>
                        </a:cxn>
                        <a:cxn ang="0">
                          <a:pos x="21" y="0"/>
                        </a:cxn>
                        <a:cxn ang="0">
                          <a:pos x="23" y="3"/>
                        </a:cxn>
                        <a:cxn ang="0">
                          <a:pos x="26" y="7"/>
                        </a:cxn>
                        <a:cxn ang="0">
                          <a:pos x="28" y="7"/>
                        </a:cxn>
                        <a:cxn ang="0">
                          <a:pos x="30" y="7"/>
                        </a:cxn>
                        <a:cxn ang="0">
                          <a:pos x="30" y="5"/>
                        </a:cxn>
                        <a:cxn ang="0">
                          <a:pos x="33" y="7"/>
                        </a:cxn>
                        <a:cxn ang="0">
                          <a:pos x="30" y="10"/>
                        </a:cxn>
                        <a:cxn ang="0">
                          <a:pos x="28" y="12"/>
                        </a:cxn>
                        <a:cxn ang="0">
                          <a:pos x="28" y="12"/>
                        </a:cxn>
                        <a:cxn ang="0">
                          <a:pos x="26" y="17"/>
                        </a:cxn>
                        <a:cxn ang="0">
                          <a:pos x="26" y="21"/>
                        </a:cxn>
                        <a:cxn ang="0">
                          <a:pos x="23" y="21"/>
                        </a:cxn>
                        <a:cxn ang="0">
                          <a:pos x="23" y="21"/>
                        </a:cxn>
                        <a:cxn ang="0">
                          <a:pos x="21" y="21"/>
                        </a:cxn>
                        <a:cxn ang="0">
                          <a:pos x="19" y="21"/>
                        </a:cxn>
                        <a:cxn ang="0">
                          <a:pos x="19" y="21"/>
                        </a:cxn>
                        <a:cxn ang="0">
                          <a:pos x="21" y="26"/>
                        </a:cxn>
                        <a:cxn ang="0">
                          <a:pos x="19" y="29"/>
                        </a:cxn>
                        <a:cxn ang="0">
                          <a:pos x="19" y="29"/>
                        </a:cxn>
                        <a:cxn ang="0">
                          <a:pos x="19" y="33"/>
                        </a:cxn>
                        <a:cxn ang="0">
                          <a:pos x="19" y="33"/>
                        </a:cxn>
                        <a:cxn ang="0">
                          <a:pos x="16" y="31"/>
                        </a:cxn>
                        <a:cxn ang="0">
                          <a:pos x="16" y="31"/>
                        </a:cxn>
                        <a:cxn ang="0">
                          <a:pos x="14" y="33"/>
                        </a:cxn>
                        <a:cxn ang="0">
                          <a:pos x="14" y="33"/>
                        </a:cxn>
                        <a:cxn ang="0">
                          <a:pos x="14" y="36"/>
                        </a:cxn>
                        <a:cxn ang="0">
                          <a:pos x="14" y="36"/>
                        </a:cxn>
                      </a:cxnLst>
                      <a:rect l="0" t="0" r="r" b="b"/>
                      <a:pathLst>
                        <a:path w="33" h="36">
                          <a:moveTo>
                            <a:pt x="14" y="36"/>
                          </a:moveTo>
                          <a:lnTo>
                            <a:pt x="14" y="36"/>
                          </a:lnTo>
                          <a:lnTo>
                            <a:pt x="14" y="36"/>
                          </a:lnTo>
                          <a:lnTo>
                            <a:pt x="14" y="33"/>
                          </a:lnTo>
                          <a:lnTo>
                            <a:pt x="14" y="33"/>
                          </a:lnTo>
                          <a:lnTo>
                            <a:pt x="12" y="31"/>
                          </a:lnTo>
                          <a:lnTo>
                            <a:pt x="12" y="31"/>
                          </a:lnTo>
                          <a:lnTo>
                            <a:pt x="12" y="31"/>
                          </a:lnTo>
                          <a:lnTo>
                            <a:pt x="12" y="31"/>
                          </a:lnTo>
                          <a:lnTo>
                            <a:pt x="9" y="31"/>
                          </a:lnTo>
                          <a:lnTo>
                            <a:pt x="9" y="31"/>
                          </a:lnTo>
                          <a:lnTo>
                            <a:pt x="4" y="29"/>
                          </a:lnTo>
                          <a:lnTo>
                            <a:pt x="4" y="29"/>
                          </a:lnTo>
                          <a:lnTo>
                            <a:pt x="4" y="29"/>
                          </a:lnTo>
                          <a:lnTo>
                            <a:pt x="4" y="29"/>
                          </a:lnTo>
                          <a:lnTo>
                            <a:pt x="2" y="31"/>
                          </a:lnTo>
                          <a:lnTo>
                            <a:pt x="2" y="31"/>
                          </a:lnTo>
                          <a:lnTo>
                            <a:pt x="2" y="31"/>
                          </a:lnTo>
                          <a:lnTo>
                            <a:pt x="2" y="31"/>
                          </a:lnTo>
                          <a:lnTo>
                            <a:pt x="0" y="29"/>
                          </a:lnTo>
                          <a:lnTo>
                            <a:pt x="0" y="29"/>
                          </a:lnTo>
                          <a:lnTo>
                            <a:pt x="0" y="29"/>
                          </a:lnTo>
                          <a:lnTo>
                            <a:pt x="0" y="29"/>
                          </a:lnTo>
                          <a:lnTo>
                            <a:pt x="0" y="29"/>
                          </a:lnTo>
                          <a:lnTo>
                            <a:pt x="0" y="29"/>
                          </a:lnTo>
                          <a:lnTo>
                            <a:pt x="2" y="26"/>
                          </a:lnTo>
                          <a:lnTo>
                            <a:pt x="2" y="26"/>
                          </a:lnTo>
                          <a:lnTo>
                            <a:pt x="2" y="24"/>
                          </a:lnTo>
                          <a:lnTo>
                            <a:pt x="2" y="24"/>
                          </a:lnTo>
                          <a:lnTo>
                            <a:pt x="4" y="26"/>
                          </a:lnTo>
                          <a:lnTo>
                            <a:pt x="4" y="26"/>
                          </a:lnTo>
                          <a:lnTo>
                            <a:pt x="4" y="26"/>
                          </a:lnTo>
                          <a:lnTo>
                            <a:pt x="4" y="26"/>
                          </a:lnTo>
                          <a:lnTo>
                            <a:pt x="7" y="26"/>
                          </a:lnTo>
                          <a:lnTo>
                            <a:pt x="7" y="26"/>
                          </a:lnTo>
                          <a:lnTo>
                            <a:pt x="7" y="26"/>
                          </a:lnTo>
                          <a:lnTo>
                            <a:pt x="7" y="26"/>
                          </a:lnTo>
                          <a:lnTo>
                            <a:pt x="9" y="24"/>
                          </a:lnTo>
                          <a:lnTo>
                            <a:pt x="9" y="24"/>
                          </a:lnTo>
                          <a:lnTo>
                            <a:pt x="9" y="24"/>
                          </a:lnTo>
                          <a:lnTo>
                            <a:pt x="9" y="24"/>
                          </a:lnTo>
                          <a:lnTo>
                            <a:pt x="12" y="24"/>
                          </a:lnTo>
                          <a:lnTo>
                            <a:pt x="12" y="24"/>
                          </a:lnTo>
                          <a:lnTo>
                            <a:pt x="12" y="24"/>
                          </a:lnTo>
                          <a:lnTo>
                            <a:pt x="12" y="24"/>
                          </a:lnTo>
                          <a:lnTo>
                            <a:pt x="14" y="19"/>
                          </a:lnTo>
                          <a:lnTo>
                            <a:pt x="14" y="19"/>
                          </a:lnTo>
                          <a:lnTo>
                            <a:pt x="16" y="21"/>
                          </a:lnTo>
                          <a:lnTo>
                            <a:pt x="16" y="21"/>
                          </a:lnTo>
                          <a:lnTo>
                            <a:pt x="14" y="26"/>
                          </a:lnTo>
                          <a:lnTo>
                            <a:pt x="14" y="26"/>
                          </a:lnTo>
                          <a:lnTo>
                            <a:pt x="14" y="26"/>
                          </a:lnTo>
                          <a:lnTo>
                            <a:pt x="14" y="26"/>
                          </a:lnTo>
                          <a:lnTo>
                            <a:pt x="14" y="26"/>
                          </a:lnTo>
                          <a:lnTo>
                            <a:pt x="14" y="26"/>
                          </a:lnTo>
                          <a:lnTo>
                            <a:pt x="16" y="31"/>
                          </a:lnTo>
                          <a:lnTo>
                            <a:pt x="16" y="31"/>
                          </a:lnTo>
                          <a:lnTo>
                            <a:pt x="16" y="31"/>
                          </a:lnTo>
                          <a:lnTo>
                            <a:pt x="16" y="31"/>
                          </a:lnTo>
                          <a:lnTo>
                            <a:pt x="16" y="31"/>
                          </a:lnTo>
                          <a:lnTo>
                            <a:pt x="16" y="31"/>
                          </a:lnTo>
                          <a:lnTo>
                            <a:pt x="16" y="31"/>
                          </a:lnTo>
                          <a:lnTo>
                            <a:pt x="16" y="31"/>
                          </a:lnTo>
                          <a:lnTo>
                            <a:pt x="16" y="29"/>
                          </a:lnTo>
                          <a:lnTo>
                            <a:pt x="16" y="29"/>
                          </a:lnTo>
                          <a:lnTo>
                            <a:pt x="16" y="29"/>
                          </a:lnTo>
                          <a:lnTo>
                            <a:pt x="16" y="29"/>
                          </a:lnTo>
                          <a:lnTo>
                            <a:pt x="19" y="21"/>
                          </a:lnTo>
                          <a:lnTo>
                            <a:pt x="19" y="21"/>
                          </a:lnTo>
                          <a:lnTo>
                            <a:pt x="21" y="19"/>
                          </a:lnTo>
                          <a:lnTo>
                            <a:pt x="21" y="19"/>
                          </a:lnTo>
                          <a:lnTo>
                            <a:pt x="21" y="21"/>
                          </a:lnTo>
                          <a:lnTo>
                            <a:pt x="21" y="21"/>
                          </a:lnTo>
                          <a:lnTo>
                            <a:pt x="21" y="19"/>
                          </a:lnTo>
                          <a:lnTo>
                            <a:pt x="21" y="19"/>
                          </a:lnTo>
                          <a:lnTo>
                            <a:pt x="23" y="19"/>
                          </a:lnTo>
                          <a:lnTo>
                            <a:pt x="23" y="19"/>
                          </a:lnTo>
                          <a:lnTo>
                            <a:pt x="26" y="17"/>
                          </a:lnTo>
                          <a:lnTo>
                            <a:pt x="26" y="17"/>
                          </a:lnTo>
                          <a:lnTo>
                            <a:pt x="26" y="17"/>
                          </a:lnTo>
                          <a:lnTo>
                            <a:pt x="26" y="17"/>
                          </a:lnTo>
                          <a:lnTo>
                            <a:pt x="26" y="14"/>
                          </a:lnTo>
                          <a:lnTo>
                            <a:pt x="26" y="14"/>
                          </a:lnTo>
                          <a:lnTo>
                            <a:pt x="23" y="10"/>
                          </a:lnTo>
                          <a:lnTo>
                            <a:pt x="23" y="10"/>
                          </a:lnTo>
                          <a:lnTo>
                            <a:pt x="23" y="10"/>
                          </a:lnTo>
                          <a:lnTo>
                            <a:pt x="23" y="10"/>
                          </a:lnTo>
                          <a:lnTo>
                            <a:pt x="21" y="7"/>
                          </a:lnTo>
                          <a:lnTo>
                            <a:pt x="21" y="7"/>
                          </a:lnTo>
                          <a:lnTo>
                            <a:pt x="19" y="7"/>
                          </a:lnTo>
                          <a:lnTo>
                            <a:pt x="19" y="7"/>
                          </a:lnTo>
                          <a:lnTo>
                            <a:pt x="19" y="7"/>
                          </a:lnTo>
                          <a:lnTo>
                            <a:pt x="19" y="7"/>
                          </a:lnTo>
                          <a:lnTo>
                            <a:pt x="19" y="7"/>
                          </a:lnTo>
                          <a:lnTo>
                            <a:pt x="19" y="7"/>
                          </a:lnTo>
                          <a:lnTo>
                            <a:pt x="16" y="7"/>
                          </a:lnTo>
                          <a:lnTo>
                            <a:pt x="16" y="7"/>
                          </a:lnTo>
                          <a:lnTo>
                            <a:pt x="19" y="3"/>
                          </a:lnTo>
                          <a:lnTo>
                            <a:pt x="19" y="3"/>
                          </a:lnTo>
                          <a:lnTo>
                            <a:pt x="19" y="3"/>
                          </a:lnTo>
                          <a:lnTo>
                            <a:pt x="19" y="3"/>
                          </a:lnTo>
                          <a:lnTo>
                            <a:pt x="21" y="0"/>
                          </a:lnTo>
                          <a:lnTo>
                            <a:pt x="21" y="0"/>
                          </a:lnTo>
                          <a:lnTo>
                            <a:pt x="23" y="3"/>
                          </a:lnTo>
                          <a:lnTo>
                            <a:pt x="23" y="3"/>
                          </a:lnTo>
                          <a:lnTo>
                            <a:pt x="26" y="5"/>
                          </a:lnTo>
                          <a:lnTo>
                            <a:pt x="26" y="5"/>
                          </a:lnTo>
                          <a:lnTo>
                            <a:pt x="26" y="7"/>
                          </a:lnTo>
                          <a:lnTo>
                            <a:pt x="26" y="7"/>
                          </a:lnTo>
                          <a:lnTo>
                            <a:pt x="28" y="7"/>
                          </a:lnTo>
                          <a:lnTo>
                            <a:pt x="28" y="7"/>
                          </a:lnTo>
                          <a:lnTo>
                            <a:pt x="28" y="7"/>
                          </a:lnTo>
                          <a:lnTo>
                            <a:pt x="28" y="7"/>
                          </a:lnTo>
                          <a:lnTo>
                            <a:pt x="30" y="7"/>
                          </a:lnTo>
                          <a:lnTo>
                            <a:pt x="30" y="7"/>
                          </a:lnTo>
                          <a:lnTo>
                            <a:pt x="30" y="5"/>
                          </a:lnTo>
                          <a:lnTo>
                            <a:pt x="30" y="5"/>
                          </a:lnTo>
                          <a:lnTo>
                            <a:pt x="30" y="5"/>
                          </a:lnTo>
                          <a:lnTo>
                            <a:pt x="30" y="5"/>
                          </a:lnTo>
                          <a:lnTo>
                            <a:pt x="33" y="7"/>
                          </a:lnTo>
                          <a:lnTo>
                            <a:pt x="33" y="7"/>
                          </a:lnTo>
                          <a:lnTo>
                            <a:pt x="30" y="10"/>
                          </a:lnTo>
                          <a:lnTo>
                            <a:pt x="30" y="10"/>
                          </a:lnTo>
                          <a:lnTo>
                            <a:pt x="30" y="12"/>
                          </a:lnTo>
                          <a:lnTo>
                            <a:pt x="30" y="12"/>
                          </a:lnTo>
                          <a:lnTo>
                            <a:pt x="28" y="12"/>
                          </a:lnTo>
                          <a:lnTo>
                            <a:pt x="28" y="12"/>
                          </a:lnTo>
                          <a:lnTo>
                            <a:pt x="28" y="12"/>
                          </a:lnTo>
                          <a:lnTo>
                            <a:pt x="28" y="12"/>
                          </a:lnTo>
                          <a:lnTo>
                            <a:pt x="26" y="12"/>
                          </a:lnTo>
                          <a:lnTo>
                            <a:pt x="26" y="12"/>
                          </a:lnTo>
                          <a:lnTo>
                            <a:pt x="26" y="17"/>
                          </a:lnTo>
                          <a:lnTo>
                            <a:pt x="26" y="17"/>
                          </a:lnTo>
                          <a:lnTo>
                            <a:pt x="26" y="21"/>
                          </a:lnTo>
                          <a:lnTo>
                            <a:pt x="26" y="21"/>
                          </a:lnTo>
                          <a:lnTo>
                            <a:pt x="26" y="21"/>
                          </a:lnTo>
                          <a:lnTo>
                            <a:pt x="26" y="21"/>
                          </a:lnTo>
                          <a:lnTo>
                            <a:pt x="23" y="21"/>
                          </a:lnTo>
                          <a:lnTo>
                            <a:pt x="23" y="21"/>
                          </a:lnTo>
                          <a:lnTo>
                            <a:pt x="23" y="21"/>
                          </a:lnTo>
                          <a:lnTo>
                            <a:pt x="23" y="21"/>
                          </a:lnTo>
                          <a:lnTo>
                            <a:pt x="21" y="21"/>
                          </a:lnTo>
                          <a:lnTo>
                            <a:pt x="21" y="21"/>
                          </a:lnTo>
                          <a:lnTo>
                            <a:pt x="21" y="21"/>
                          </a:lnTo>
                          <a:lnTo>
                            <a:pt x="21" y="21"/>
                          </a:lnTo>
                          <a:lnTo>
                            <a:pt x="19" y="21"/>
                          </a:lnTo>
                          <a:lnTo>
                            <a:pt x="19" y="21"/>
                          </a:lnTo>
                          <a:lnTo>
                            <a:pt x="19" y="21"/>
                          </a:lnTo>
                          <a:lnTo>
                            <a:pt x="19" y="21"/>
                          </a:lnTo>
                          <a:lnTo>
                            <a:pt x="19" y="21"/>
                          </a:lnTo>
                          <a:lnTo>
                            <a:pt x="19" y="21"/>
                          </a:lnTo>
                          <a:lnTo>
                            <a:pt x="21" y="26"/>
                          </a:lnTo>
                          <a:lnTo>
                            <a:pt x="21" y="26"/>
                          </a:lnTo>
                          <a:lnTo>
                            <a:pt x="19" y="26"/>
                          </a:lnTo>
                          <a:lnTo>
                            <a:pt x="19" y="26"/>
                          </a:lnTo>
                          <a:lnTo>
                            <a:pt x="19" y="29"/>
                          </a:lnTo>
                          <a:lnTo>
                            <a:pt x="19" y="29"/>
                          </a:lnTo>
                          <a:lnTo>
                            <a:pt x="19" y="29"/>
                          </a:lnTo>
                          <a:lnTo>
                            <a:pt x="19" y="29"/>
                          </a:lnTo>
                          <a:lnTo>
                            <a:pt x="19" y="31"/>
                          </a:lnTo>
                          <a:lnTo>
                            <a:pt x="19" y="31"/>
                          </a:lnTo>
                          <a:lnTo>
                            <a:pt x="19" y="33"/>
                          </a:lnTo>
                          <a:lnTo>
                            <a:pt x="19" y="33"/>
                          </a:lnTo>
                          <a:lnTo>
                            <a:pt x="19" y="33"/>
                          </a:lnTo>
                          <a:lnTo>
                            <a:pt x="19" y="33"/>
                          </a:lnTo>
                          <a:lnTo>
                            <a:pt x="16" y="31"/>
                          </a:lnTo>
                          <a:lnTo>
                            <a:pt x="16" y="31"/>
                          </a:lnTo>
                          <a:lnTo>
                            <a:pt x="16" y="31"/>
                          </a:lnTo>
                          <a:lnTo>
                            <a:pt x="16" y="31"/>
                          </a:lnTo>
                          <a:lnTo>
                            <a:pt x="16" y="31"/>
                          </a:lnTo>
                          <a:lnTo>
                            <a:pt x="16" y="31"/>
                          </a:lnTo>
                          <a:lnTo>
                            <a:pt x="14" y="31"/>
                          </a:lnTo>
                          <a:lnTo>
                            <a:pt x="14" y="31"/>
                          </a:lnTo>
                          <a:lnTo>
                            <a:pt x="14" y="33"/>
                          </a:lnTo>
                          <a:lnTo>
                            <a:pt x="14" y="33"/>
                          </a:lnTo>
                          <a:lnTo>
                            <a:pt x="14" y="33"/>
                          </a:lnTo>
                          <a:lnTo>
                            <a:pt x="14" y="33"/>
                          </a:lnTo>
                          <a:lnTo>
                            <a:pt x="14" y="33"/>
                          </a:lnTo>
                          <a:lnTo>
                            <a:pt x="14" y="33"/>
                          </a:lnTo>
                          <a:lnTo>
                            <a:pt x="14" y="36"/>
                          </a:lnTo>
                          <a:lnTo>
                            <a:pt x="14" y="36"/>
                          </a:lnTo>
                          <a:lnTo>
                            <a:pt x="14" y="36"/>
                          </a:lnTo>
                          <a:lnTo>
                            <a:pt x="14" y="36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50" name="Freeform 1173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724" y="1259"/>
                      <a:ext cx="8" cy="8"/>
                    </a:xfrm>
                    <a:custGeom>
                      <a:avLst/>
                      <a:gdLst/>
                      <a:ahLst/>
                      <a:cxnLst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2" y="3"/>
                        </a:cxn>
                        <a:cxn ang="0">
                          <a:pos x="2" y="3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4" y="0"/>
                        </a:cxn>
                        <a:cxn ang="0">
                          <a:pos x="4" y="0"/>
                        </a:cxn>
                        <a:cxn ang="0">
                          <a:pos x="7" y="3"/>
                        </a:cxn>
                        <a:cxn ang="0">
                          <a:pos x="7" y="3"/>
                        </a:cxn>
                        <a:cxn ang="0">
                          <a:pos x="7" y="3"/>
                        </a:cxn>
                        <a:cxn ang="0">
                          <a:pos x="7" y="3"/>
                        </a:cxn>
                        <a:cxn ang="0">
                          <a:pos x="7" y="3"/>
                        </a:cxn>
                        <a:cxn ang="0">
                          <a:pos x="7" y="3"/>
                        </a:cxn>
                        <a:cxn ang="0">
                          <a:pos x="4" y="7"/>
                        </a:cxn>
                        <a:cxn ang="0">
                          <a:pos x="4" y="7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</a:cxnLst>
                      <a:rect l="0" t="0" r="r" b="b"/>
                      <a:pathLst>
                        <a:path w="7" h="7">
                          <a:moveTo>
                            <a:pt x="2" y="7"/>
                          </a:move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2" y="3"/>
                          </a:lnTo>
                          <a:lnTo>
                            <a:pt x="2" y="3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4" y="0"/>
                          </a:lnTo>
                          <a:lnTo>
                            <a:pt x="4" y="0"/>
                          </a:lnTo>
                          <a:lnTo>
                            <a:pt x="7" y="3"/>
                          </a:lnTo>
                          <a:lnTo>
                            <a:pt x="7" y="3"/>
                          </a:lnTo>
                          <a:lnTo>
                            <a:pt x="7" y="3"/>
                          </a:lnTo>
                          <a:lnTo>
                            <a:pt x="7" y="3"/>
                          </a:lnTo>
                          <a:lnTo>
                            <a:pt x="7" y="3"/>
                          </a:lnTo>
                          <a:lnTo>
                            <a:pt x="7" y="3"/>
                          </a:lnTo>
                          <a:lnTo>
                            <a:pt x="4" y="7"/>
                          </a:lnTo>
                          <a:lnTo>
                            <a:pt x="4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51" name="Freeform 1174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707" y="1262"/>
                      <a:ext cx="11" cy="8"/>
                    </a:xfrm>
                    <a:custGeom>
                      <a:avLst/>
                      <a:gdLst/>
                      <a:ahLst/>
                      <a:cxnLst>
                        <a:cxn ang="0">
                          <a:pos x="5" y="7"/>
                        </a:cxn>
                        <a:cxn ang="0">
                          <a:pos x="3" y="4"/>
                        </a:cxn>
                        <a:cxn ang="0">
                          <a:pos x="3" y="4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7" y="4"/>
                        </a:cxn>
                        <a:cxn ang="0">
                          <a:pos x="7" y="4"/>
                        </a:cxn>
                        <a:cxn ang="0">
                          <a:pos x="7" y="4"/>
                        </a:cxn>
                        <a:cxn ang="0">
                          <a:pos x="7" y="4"/>
                        </a:cxn>
                        <a:cxn ang="0">
                          <a:pos x="10" y="4"/>
                        </a:cxn>
                        <a:cxn ang="0">
                          <a:pos x="10" y="4"/>
                        </a:cxn>
                        <a:cxn ang="0">
                          <a:pos x="10" y="7"/>
                        </a:cxn>
                        <a:cxn ang="0">
                          <a:pos x="10" y="7"/>
                        </a:cxn>
                        <a:cxn ang="0">
                          <a:pos x="10" y="7"/>
                        </a:cxn>
                        <a:cxn ang="0">
                          <a:pos x="10" y="7"/>
                        </a:cxn>
                        <a:cxn ang="0">
                          <a:pos x="10" y="7"/>
                        </a:cxn>
                        <a:cxn ang="0">
                          <a:pos x="10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</a:cxnLst>
                      <a:rect l="0" t="0" r="r" b="b"/>
                      <a:pathLst>
                        <a:path w="10" h="7">
                          <a:moveTo>
                            <a:pt x="5" y="7"/>
                          </a:moveTo>
                          <a:lnTo>
                            <a:pt x="3" y="4"/>
                          </a:lnTo>
                          <a:lnTo>
                            <a:pt x="3" y="4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7" y="4"/>
                          </a:lnTo>
                          <a:lnTo>
                            <a:pt x="7" y="4"/>
                          </a:lnTo>
                          <a:lnTo>
                            <a:pt x="7" y="4"/>
                          </a:lnTo>
                          <a:lnTo>
                            <a:pt x="7" y="4"/>
                          </a:lnTo>
                          <a:lnTo>
                            <a:pt x="10" y="4"/>
                          </a:lnTo>
                          <a:lnTo>
                            <a:pt x="10" y="4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52" name="Freeform 1175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753" y="1276"/>
                      <a:ext cx="8" cy="12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9"/>
                        </a:cxn>
                        <a:cxn ang="0">
                          <a:pos x="0" y="9"/>
                        </a:cxn>
                        <a:cxn ang="0">
                          <a:pos x="0" y="9"/>
                        </a:cxn>
                        <a:cxn ang="0">
                          <a:pos x="0" y="7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4" y="0"/>
                        </a:cxn>
                        <a:cxn ang="0">
                          <a:pos x="4" y="0"/>
                        </a:cxn>
                        <a:cxn ang="0">
                          <a:pos x="7" y="4"/>
                        </a:cxn>
                        <a:cxn ang="0">
                          <a:pos x="7" y="4"/>
                        </a:cxn>
                        <a:cxn ang="0">
                          <a:pos x="4" y="4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2" y="9"/>
                        </a:cxn>
                        <a:cxn ang="0">
                          <a:pos x="2" y="9"/>
                        </a:cxn>
                        <a:cxn ang="0">
                          <a:pos x="2" y="9"/>
                        </a:cxn>
                        <a:cxn ang="0">
                          <a:pos x="2" y="9"/>
                        </a:cxn>
                        <a:cxn ang="0">
                          <a:pos x="2" y="9"/>
                        </a:cxn>
                        <a:cxn ang="0">
                          <a:pos x="2" y="9"/>
                        </a:cxn>
                        <a:cxn ang="0">
                          <a:pos x="4" y="9"/>
                        </a:cxn>
                        <a:cxn ang="0">
                          <a:pos x="4" y="9"/>
                        </a:cxn>
                        <a:cxn ang="0">
                          <a:pos x="4" y="9"/>
                        </a:cxn>
                        <a:cxn ang="0">
                          <a:pos x="4" y="9"/>
                        </a:cxn>
                        <a:cxn ang="0">
                          <a:pos x="4" y="9"/>
                        </a:cxn>
                        <a:cxn ang="0">
                          <a:pos x="4" y="11"/>
                        </a:cxn>
                        <a:cxn ang="0">
                          <a:pos x="2" y="11"/>
                        </a:cxn>
                        <a:cxn ang="0">
                          <a:pos x="2" y="11"/>
                        </a:cxn>
                        <a:cxn ang="0">
                          <a:pos x="2" y="11"/>
                        </a:cxn>
                      </a:cxnLst>
                      <a:rect l="0" t="0" r="r" b="b"/>
                      <a:pathLst>
                        <a:path w="7" h="11">
                          <a:moveTo>
                            <a:pt x="2" y="11"/>
                          </a:moveTo>
                          <a:lnTo>
                            <a:pt x="0" y="9"/>
                          </a:lnTo>
                          <a:lnTo>
                            <a:pt x="0" y="9"/>
                          </a:lnTo>
                          <a:lnTo>
                            <a:pt x="0" y="9"/>
                          </a:lnTo>
                          <a:lnTo>
                            <a:pt x="0" y="9"/>
                          </a:lnTo>
                          <a:lnTo>
                            <a:pt x="0" y="9"/>
                          </a:lnTo>
                          <a:lnTo>
                            <a:pt x="0" y="9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4" y="0"/>
                          </a:lnTo>
                          <a:lnTo>
                            <a:pt x="4" y="0"/>
                          </a:lnTo>
                          <a:lnTo>
                            <a:pt x="4" y="0"/>
                          </a:lnTo>
                          <a:lnTo>
                            <a:pt x="4" y="0"/>
                          </a:lnTo>
                          <a:lnTo>
                            <a:pt x="7" y="4"/>
                          </a:lnTo>
                          <a:lnTo>
                            <a:pt x="7" y="4"/>
                          </a:lnTo>
                          <a:lnTo>
                            <a:pt x="7" y="4"/>
                          </a:lnTo>
                          <a:lnTo>
                            <a:pt x="7" y="4"/>
                          </a:lnTo>
                          <a:lnTo>
                            <a:pt x="4" y="4"/>
                          </a:lnTo>
                          <a:lnTo>
                            <a:pt x="4" y="4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9"/>
                          </a:lnTo>
                          <a:lnTo>
                            <a:pt x="2" y="9"/>
                          </a:lnTo>
                          <a:lnTo>
                            <a:pt x="2" y="9"/>
                          </a:lnTo>
                          <a:lnTo>
                            <a:pt x="2" y="9"/>
                          </a:lnTo>
                          <a:lnTo>
                            <a:pt x="2" y="9"/>
                          </a:lnTo>
                          <a:lnTo>
                            <a:pt x="2" y="9"/>
                          </a:lnTo>
                          <a:lnTo>
                            <a:pt x="2" y="9"/>
                          </a:lnTo>
                          <a:lnTo>
                            <a:pt x="2" y="9"/>
                          </a:lnTo>
                          <a:lnTo>
                            <a:pt x="2" y="9"/>
                          </a:lnTo>
                          <a:lnTo>
                            <a:pt x="2" y="9"/>
                          </a:lnTo>
                          <a:lnTo>
                            <a:pt x="2" y="9"/>
                          </a:lnTo>
                          <a:lnTo>
                            <a:pt x="2" y="9"/>
                          </a:lnTo>
                          <a:lnTo>
                            <a:pt x="4" y="9"/>
                          </a:lnTo>
                          <a:lnTo>
                            <a:pt x="4" y="9"/>
                          </a:lnTo>
                          <a:lnTo>
                            <a:pt x="4" y="9"/>
                          </a:lnTo>
                          <a:lnTo>
                            <a:pt x="4" y="9"/>
                          </a:lnTo>
                          <a:lnTo>
                            <a:pt x="4" y="9"/>
                          </a:lnTo>
                          <a:lnTo>
                            <a:pt x="4" y="9"/>
                          </a:lnTo>
                          <a:lnTo>
                            <a:pt x="4" y="9"/>
                          </a:lnTo>
                          <a:lnTo>
                            <a:pt x="4" y="9"/>
                          </a:lnTo>
                          <a:lnTo>
                            <a:pt x="4" y="9"/>
                          </a:lnTo>
                          <a:lnTo>
                            <a:pt x="4" y="9"/>
                          </a:lnTo>
                          <a:lnTo>
                            <a:pt x="4" y="11"/>
                          </a:lnTo>
                          <a:lnTo>
                            <a:pt x="4" y="11"/>
                          </a:lnTo>
                          <a:lnTo>
                            <a:pt x="2" y="11"/>
                          </a:lnTo>
                          <a:lnTo>
                            <a:pt x="2" y="11"/>
                          </a:lnTo>
                          <a:lnTo>
                            <a:pt x="2" y="11"/>
                          </a:lnTo>
                          <a:lnTo>
                            <a:pt x="2" y="11"/>
                          </a:lnTo>
                          <a:lnTo>
                            <a:pt x="2" y="11"/>
                          </a:lnTo>
                          <a:lnTo>
                            <a:pt x="2" y="11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53" name="Freeform 1176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736" y="1276"/>
                      <a:ext cx="14" cy="10"/>
                    </a:xfrm>
                    <a:custGeom>
                      <a:avLst/>
                      <a:gdLst/>
                      <a:ahLst/>
                      <a:cxnLst>
                        <a:cxn ang="0">
                          <a:pos x="5" y="9"/>
                        </a:cxn>
                        <a:cxn ang="0">
                          <a:pos x="3" y="9"/>
                        </a:cxn>
                        <a:cxn ang="0">
                          <a:pos x="3" y="9"/>
                        </a:cxn>
                        <a:cxn ang="0">
                          <a:pos x="3" y="7"/>
                        </a:cxn>
                        <a:cxn ang="0">
                          <a:pos x="3" y="7"/>
                        </a:cxn>
                        <a:cxn ang="0">
                          <a:pos x="0" y="4"/>
                        </a:cxn>
                        <a:cxn ang="0">
                          <a:pos x="0" y="4"/>
                        </a:cxn>
                        <a:cxn ang="0">
                          <a:pos x="3" y="4"/>
                        </a:cxn>
                        <a:cxn ang="0">
                          <a:pos x="3" y="4"/>
                        </a:cxn>
                        <a:cxn ang="0">
                          <a:pos x="3" y="4"/>
                        </a:cxn>
                        <a:cxn ang="0">
                          <a:pos x="3" y="4"/>
                        </a:cxn>
                        <a:cxn ang="0">
                          <a:pos x="3" y="4"/>
                        </a:cxn>
                        <a:cxn ang="0">
                          <a:pos x="3" y="4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10" y="2"/>
                        </a:cxn>
                        <a:cxn ang="0">
                          <a:pos x="10" y="2"/>
                        </a:cxn>
                        <a:cxn ang="0">
                          <a:pos x="10" y="2"/>
                        </a:cxn>
                        <a:cxn ang="0">
                          <a:pos x="10" y="2"/>
                        </a:cxn>
                        <a:cxn ang="0">
                          <a:pos x="10" y="2"/>
                        </a:cxn>
                        <a:cxn ang="0">
                          <a:pos x="10" y="2"/>
                        </a:cxn>
                        <a:cxn ang="0">
                          <a:pos x="10" y="2"/>
                        </a:cxn>
                        <a:cxn ang="0">
                          <a:pos x="10" y="2"/>
                        </a:cxn>
                        <a:cxn ang="0">
                          <a:pos x="12" y="2"/>
                        </a:cxn>
                        <a:cxn ang="0">
                          <a:pos x="12" y="2"/>
                        </a:cxn>
                        <a:cxn ang="0">
                          <a:pos x="12" y="2"/>
                        </a:cxn>
                        <a:cxn ang="0">
                          <a:pos x="12" y="2"/>
                        </a:cxn>
                        <a:cxn ang="0">
                          <a:pos x="12" y="4"/>
                        </a:cxn>
                        <a:cxn ang="0">
                          <a:pos x="12" y="4"/>
                        </a:cxn>
                        <a:cxn ang="0">
                          <a:pos x="10" y="9"/>
                        </a:cxn>
                        <a:cxn ang="0">
                          <a:pos x="10" y="9"/>
                        </a:cxn>
                        <a:cxn ang="0">
                          <a:pos x="10" y="9"/>
                        </a:cxn>
                        <a:cxn ang="0">
                          <a:pos x="10" y="9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4"/>
                        </a:cxn>
                        <a:cxn ang="0">
                          <a:pos x="7" y="4"/>
                        </a:cxn>
                        <a:cxn ang="0">
                          <a:pos x="5" y="4"/>
                        </a:cxn>
                        <a:cxn ang="0">
                          <a:pos x="5" y="4"/>
                        </a:cxn>
                        <a:cxn ang="0">
                          <a:pos x="5" y="4"/>
                        </a:cxn>
                        <a:cxn ang="0">
                          <a:pos x="5" y="4"/>
                        </a:cxn>
                        <a:cxn ang="0">
                          <a:pos x="5" y="4"/>
                        </a:cxn>
                        <a:cxn ang="0">
                          <a:pos x="5" y="4"/>
                        </a:cxn>
                        <a:cxn ang="0">
                          <a:pos x="3" y="7"/>
                        </a:cxn>
                        <a:cxn ang="0">
                          <a:pos x="3" y="7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5" y="9"/>
                        </a:cxn>
                        <a:cxn ang="0">
                          <a:pos x="5" y="9"/>
                        </a:cxn>
                        <a:cxn ang="0">
                          <a:pos x="5" y="9"/>
                        </a:cxn>
                        <a:cxn ang="0">
                          <a:pos x="5" y="9"/>
                        </a:cxn>
                        <a:cxn ang="0">
                          <a:pos x="5" y="9"/>
                        </a:cxn>
                        <a:cxn ang="0">
                          <a:pos x="5" y="9"/>
                        </a:cxn>
                        <a:cxn ang="0">
                          <a:pos x="5" y="9"/>
                        </a:cxn>
                        <a:cxn ang="0">
                          <a:pos x="5" y="9"/>
                        </a:cxn>
                      </a:cxnLst>
                      <a:rect l="0" t="0" r="r" b="b"/>
                      <a:pathLst>
                        <a:path w="12" h="9">
                          <a:moveTo>
                            <a:pt x="5" y="9"/>
                          </a:moveTo>
                          <a:lnTo>
                            <a:pt x="3" y="9"/>
                          </a:lnTo>
                          <a:lnTo>
                            <a:pt x="3" y="9"/>
                          </a:lnTo>
                          <a:lnTo>
                            <a:pt x="3" y="7"/>
                          </a:lnTo>
                          <a:lnTo>
                            <a:pt x="3" y="7"/>
                          </a:lnTo>
                          <a:lnTo>
                            <a:pt x="0" y="4"/>
                          </a:lnTo>
                          <a:lnTo>
                            <a:pt x="0" y="4"/>
                          </a:lnTo>
                          <a:lnTo>
                            <a:pt x="3" y="4"/>
                          </a:lnTo>
                          <a:lnTo>
                            <a:pt x="3" y="4"/>
                          </a:lnTo>
                          <a:lnTo>
                            <a:pt x="3" y="4"/>
                          </a:lnTo>
                          <a:lnTo>
                            <a:pt x="3" y="4"/>
                          </a:lnTo>
                          <a:lnTo>
                            <a:pt x="3" y="4"/>
                          </a:lnTo>
                          <a:lnTo>
                            <a:pt x="3" y="4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10" y="2"/>
                          </a:lnTo>
                          <a:lnTo>
                            <a:pt x="10" y="2"/>
                          </a:lnTo>
                          <a:lnTo>
                            <a:pt x="10" y="2"/>
                          </a:lnTo>
                          <a:lnTo>
                            <a:pt x="10" y="2"/>
                          </a:lnTo>
                          <a:lnTo>
                            <a:pt x="10" y="2"/>
                          </a:lnTo>
                          <a:lnTo>
                            <a:pt x="10" y="2"/>
                          </a:lnTo>
                          <a:lnTo>
                            <a:pt x="10" y="2"/>
                          </a:lnTo>
                          <a:lnTo>
                            <a:pt x="10" y="2"/>
                          </a:lnTo>
                          <a:lnTo>
                            <a:pt x="12" y="2"/>
                          </a:lnTo>
                          <a:lnTo>
                            <a:pt x="12" y="2"/>
                          </a:lnTo>
                          <a:lnTo>
                            <a:pt x="12" y="2"/>
                          </a:lnTo>
                          <a:lnTo>
                            <a:pt x="12" y="2"/>
                          </a:lnTo>
                          <a:lnTo>
                            <a:pt x="12" y="4"/>
                          </a:lnTo>
                          <a:lnTo>
                            <a:pt x="12" y="4"/>
                          </a:lnTo>
                          <a:lnTo>
                            <a:pt x="10" y="9"/>
                          </a:lnTo>
                          <a:lnTo>
                            <a:pt x="10" y="9"/>
                          </a:lnTo>
                          <a:lnTo>
                            <a:pt x="10" y="9"/>
                          </a:lnTo>
                          <a:lnTo>
                            <a:pt x="10" y="9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4"/>
                          </a:lnTo>
                          <a:lnTo>
                            <a:pt x="7" y="4"/>
                          </a:lnTo>
                          <a:lnTo>
                            <a:pt x="5" y="4"/>
                          </a:lnTo>
                          <a:lnTo>
                            <a:pt x="5" y="4"/>
                          </a:lnTo>
                          <a:lnTo>
                            <a:pt x="5" y="4"/>
                          </a:lnTo>
                          <a:lnTo>
                            <a:pt x="5" y="4"/>
                          </a:lnTo>
                          <a:lnTo>
                            <a:pt x="5" y="4"/>
                          </a:lnTo>
                          <a:lnTo>
                            <a:pt x="5" y="4"/>
                          </a:lnTo>
                          <a:lnTo>
                            <a:pt x="3" y="7"/>
                          </a:lnTo>
                          <a:lnTo>
                            <a:pt x="3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9"/>
                          </a:lnTo>
                          <a:lnTo>
                            <a:pt x="5" y="9"/>
                          </a:lnTo>
                          <a:lnTo>
                            <a:pt x="5" y="9"/>
                          </a:lnTo>
                          <a:lnTo>
                            <a:pt x="5" y="9"/>
                          </a:lnTo>
                          <a:lnTo>
                            <a:pt x="5" y="9"/>
                          </a:lnTo>
                          <a:lnTo>
                            <a:pt x="5" y="9"/>
                          </a:lnTo>
                          <a:lnTo>
                            <a:pt x="5" y="9"/>
                          </a:lnTo>
                          <a:lnTo>
                            <a:pt x="5" y="9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54" name="Freeform 1177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771" y="1288"/>
                      <a:ext cx="14" cy="20"/>
                    </a:xfrm>
                    <a:custGeom>
                      <a:avLst/>
                      <a:gdLst/>
                      <a:ahLst/>
                      <a:cxnLst>
                        <a:cxn ang="0">
                          <a:pos x="7" y="15"/>
                        </a:cxn>
                        <a:cxn ang="0">
                          <a:pos x="7" y="15"/>
                        </a:cxn>
                        <a:cxn ang="0">
                          <a:pos x="7" y="15"/>
                        </a:cxn>
                        <a:cxn ang="0">
                          <a:pos x="7" y="15"/>
                        </a:cxn>
                        <a:cxn ang="0">
                          <a:pos x="7" y="15"/>
                        </a:cxn>
                        <a:cxn ang="0">
                          <a:pos x="7" y="15"/>
                        </a:cxn>
                        <a:cxn ang="0">
                          <a:pos x="7" y="12"/>
                        </a:cxn>
                        <a:cxn ang="0">
                          <a:pos x="7" y="12"/>
                        </a:cxn>
                        <a:cxn ang="0">
                          <a:pos x="7" y="12"/>
                        </a:cxn>
                        <a:cxn ang="0">
                          <a:pos x="7" y="12"/>
                        </a:cxn>
                        <a:cxn ang="0">
                          <a:pos x="7" y="10"/>
                        </a:cxn>
                        <a:cxn ang="0">
                          <a:pos x="7" y="10"/>
                        </a:cxn>
                        <a:cxn ang="0">
                          <a:pos x="7" y="10"/>
                        </a:cxn>
                        <a:cxn ang="0">
                          <a:pos x="7" y="10"/>
                        </a:cxn>
                        <a:cxn ang="0">
                          <a:pos x="7" y="10"/>
                        </a:cxn>
                        <a:cxn ang="0">
                          <a:pos x="7" y="10"/>
                        </a:cxn>
                        <a:cxn ang="0">
                          <a:pos x="5" y="10"/>
                        </a:cxn>
                        <a:cxn ang="0">
                          <a:pos x="5" y="10"/>
                        </a:cxn>
                        <a:cxn ang="0">
                          <a:pos x="5" y="10"/>
                        </a:cxn>
                        <a:cxn ang="0">
                          <a:pos x="5" y="10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5"/>
                        </a:cxn>
                        <a:cxn ang="0">
                          <a:pos x="2" y="5"/>
                        </a:cxn>
                        <a:cxn ang="0">
                          <a:pos x="2" y="5"/>
                        </a:cxn>
                        <a:cxn ang="0">
                          <a:pos x="2" y="5"/>
                        </a:cxn>
                        <a:cxn ang="0">
                          <a:pos x="2" y="5"/>
                        </a:cxn>
                        <a:cxn ang="0">
                          <a:pos x="2" y="5"/>
                        </a:cxn>
                        <a:cxn ang="0">
                          <a:pos x="2" y="5"/>
                        </a:cxn>
                        <a:cxn ang="0">
                          <a:pos x="2" y="5"/>
                        </a:cxn>
                        <a:cxn ang="0">
                          <a:pos x="2" y="3"/>
                        </a:cxn>
                        <a:cxn ang="0">
                          <a:pos x="2" y="3"/>
                        </a:cxn>
                        <a:cxn ang="0">
                          <a:pos x="2" y="3"/>
                        </a:cxn>
                        <a:cxn ang="0">
                          <a:pos x="2" y="3"/>
                        </a:cxn>
                        <a:cxn ang="0">
                          <a:pos x="2" y="3"/>
                        </a:cxn>
                        <a:cxn ang="0">
                          <a:pos x="2" y="3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5" y="3"/>
                        </a:cxn>
                        <a:cxn ang="0">
                          <a:pos x="5" y="3"/>
                        </a:cxn>
                        <a:cxn ang="0">
                          <a:pos x="5" y="3"/>
                        </a:cxn>
                        <a:cxn ang="0">
                          <a:pos x="5" y="3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10" y="10"/>
                        </a:cxn>
                        <a:cxn ang="0">
                          <a:pos x="10" y="12"/>
                        </a:cxn>
                        <a:cxn ang="0">
                          <a:pos x="10" y="12"/>
                        </a:cxn>
                        <a:cxn ang="0">
                          <a:pos x="10" y="12"/>
                        </a:cxn>
                        <a:cxn ang="0">
                          <a:pos x="10" y="12"/>
                        </a:cxn>
                        <a:cxn ang="0">
                          <a:pos x="12" y="12"/>
                        </a:cxn>
                        <a:cxn ang="0">
                          <a:pos x="12" y="12"/>
                        </a:cxn>
                        <a:cxn ang="0">
                          <a:pos x="12" y="12"/>
                        </a:cxn>
                        <a:cxn ang="0">
                          <a:pos x="12" y="12"/>
                        </a:cxn>
                        <a:cxn ang="0">
                          <a:pos x="12" y="15"/>
                        </a:cxn>
                        <a:cxn ang="0">
                          <a:pos x="10" y="17"/>
                        </a:cxn>
                        <a:cxn ang="0">
                          <a:pos x="10" y="17"/>
                        </a:cxn>
                      </a:cxnLst>
                      <a:rect l="0" t="0" r="r" b="b"/>
                      <a:pathLst>
                        <a:path w="12" h="17">
                          <a:moveTo>
                            <a:pt x="10" y="17"/>
                          </a:moveTo>
                          <a:lnTo>
                            <a:pt x="7" y="15"/>
                          </a:lnTo>
                          <a:lnTo>
                            <a:pt x="7" y="15"/>
                          </a:lnTo>
                          <a:lnTo>
                            <a:pt x="7" y="15"/>
                          </a:lnTo>
                          <a:lnTo>
                            <a:pt x="7" y="15"/>
                          </a:lnTo>
                          <a:lnTo>
                            <a:pt x="7" y="15"/>
                          </a:lnTo>
                          <a:lnTo>
                            <a:pt x="7" y="15"/>
                          </a:lnTo>
                          <a:lnTo>
                            <a:pt x="7" y="15"/>
                          </a:lnTo>
                          <a:lnTo>
                            <a:pt x="7" y="15"/>
                          </a:lnTo>
                          <a:lnTo>
                            <a:pt x="7" y="15"/>
                          </a:lnTo>
                          <a:lnTo>
                            <a:pt x="7" y="15"/>
                          </a:lnTo>
                          <a:lnTo>
                            <a:pt x="7" y="15"/>
                          </a:lnTo>
                          <a:lnTo>
                            <a:pt x="7" y="15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7" y="10"/>
                          </a:lnTo>
                          <a:lnTo>
                            <a:pt x="7" y="10"/>
                          </a:lnTo>
                          <a:lnTo>
                            <a:pt x="7" y="10"/>
                          </a:lnTo>
                          <a:lnTo>
                            <a:pt x="7" y="10"/>
                          </a:lnTo>
                          <a:lnTo>
                            <a:pt x="7" y="10"/>
                          </a:lnTo>
                          <a:lnTo>
                            <a:pt x="7" y="10"/>
                          </a:lnTo>
                          <a:lnTo>
                            <a:pt x="7" y="10"/>
                          </a:lnTo>
                          <a:lnTo>
                            <a:pt x="7" y="10"/>
                          </a:lnTo>
                          <a:lnTo>
                            <a:pt x="7" y="10"/>
                          </a:lnTo>
                          <a:lnTo>
                            <a:pt x="7" y="10"/>
                          </a:lnTo>
                          <a:lnTo>
                            <a:pt x="7" y="10"/>
                          </a:lnTo>
                          <a:lnTo>
                            <a:pt x="7" y="10"/>
                          </a:lnTo>
                          <a:lnTo>
                            <a:pt x="5" y="10"/>
                          </a:lnTo>
                          <a:lnTo>
                            <a:pt x="5" y="10"/>
                          </a:lnTo>
                          <a:lnTo>
                            <a:pt x="5" y="10"/>
                          </a:lnTo>
                          <a:lnTo>
                            <a:pt x="5" y="10"/>
                          </a:lnTo>
                          <a:lnTo>
                            <a:pt x="5" y="10"/>
                          </a:lnTo>
                          <a:lnTo>
                            <a:pt x="5" y="10"/>
                          </a:lnTo>
                          <a:lnTo>
                            <a:pt x="5" y="10"/>
                          </a:lnTo>
                          <a:lnTo>
                            <a:pt x="5" y="10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3"/>
                          </a:lnTo>
                          <a:lnTo>
                            <a:pt x="2" y="3"/>
                          </a:lnTo>
                          <a:lnTo>
                            <a:pt x="2" y="3"/>
                          </a:lnTo>
                          <a:lnTo>
                            <a:pt x="2" y="3"/>
                          </a:lnTo>
                          <a:lnTo>
                            <a:pt x="2" y="3"/>
                          </a:lnTo>
                          <a:lnTo>
                            <a:pt x="2" y="3"/>
                          </a:lnTo>
                          <a:lnTo>
                            <a:pt x="2" y="3"/>
                          </a:lnTo>
                          <a:lnTo>
                            <a:pt x="2" y="3"/>
                          </a:lnTo>
                          <a:lnTo>
                            <a:pt x="2" y="3"/>
                          </a:lnTo>
                          <a:lnTo>
                            <a:pt x="2" y="3"/>
                          </a:lnTo>
                          <a:lnTo>
                            <a:pt x="2" y="3"/>
                          </a:lnTo>
                          <a:lnTo>
                            <a:pt x="2" y="3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5" y="3"/>
                          </a:lnTo>
                          <a:lnTo>
                            <a:pt x="5" y="3"/>
                          </a:lnTo>
                          <a:lnTo>
                            <a:pt x="5" y="3"/>
                          </a:lnTo>
                          <a:lnTo>
                            <a:pt x="5" y="3"/>
                          </a:lnTo>
                          <a:lnTo>
                            <a:pt x="5" y="3"/>
                          </a:lnTo>
                          <a:lnTo>
                            <a:pt x="5" y="3"/>
                          </a:lnTo>
                          <a:lnTo>
                            <a:pt x="5" y="3"/>
                          </a:lnTo>
                          <a:lnTo>
                            <a:pt x="5" y="3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10" y="10"/>
                          </a:lnTo>
                          <a:lnTo>
                            <a:pt x="10" y="10"/>
                          </a:lnTo>
                          <a:lnTo>
                            <a:pt x="10" y="12"/>
                          </a:lnTo>
                          <a:lnTo>
                            <a:pt x="10" y="12"/>
                          </a:lnTo>
                          <a:lnTo>
                            <a:pt x="10" y="12"/>
                          </a:lnTo>
                          <a:lnTo>
                            <a:pt x="10" y="12"/>
                          </a:lnTo>
                          <a:lnTo>
                            <a:pt x="10" y="12"/>
                          </a:lnTo>
                          <a:lnTo>
                            <a:pt x="10" y="12"/>
                          </a:lnTo>
                          <a:lnTo>
                            <a:pt x="10" y="12"/>
                          </a:lnTo>
                          <a:lnTo>
                            <a:pt x="10" y="12"/>
                          </a:lnTo>
                          <a:lnTo>
                            <a:pt x="12" y="12"/>
                          </a:lnTo>
                          <a:lnTo>
                            <a:pt x="12" y="12"/>
                          </a:lnTo>
                          <a:lnTo>
                            <a:pt x="12" y="12"/>
                          </a:lnTo>
                          <a:lnTo>
                            <a:pt x="12" y="12"/>
                          </a:lnTo>
                          <a:lnTo>
                            <a:pt x="12" y="12"/>
                          </a:lnTo>
                          <a:lnTo>
                            <a:pt x="12" y="12"/>
                          </a:lnTo>
                          <a:lnTo>
                            <a:pt x="12" y="12"/>
                          </a:lnTo>
                          <a:lnTo>
                            <a:pt x="12" y="12"/>
                          </a:lnTo>
                          <a:lnTo>
                            <a:pt x="12" y="15"/>
                          </a:lnTo>
                          <a:lnTo>
                            <a:pt x="12" y="15"/>
                          </a:lnTo>
                          <a:lnTo>
                            <a:pt x="10" y="17"/>
                          </a:lnTo>
                          <a:lnTo>
                            <a:pt x="10" y="17"/>
                          </a:lnTo>
                          <a:lnTo>
                            <a:pt x="10" y="17"/>
                          </a:lnTo>
                          <a:lnTo>
                            <a:pt x="10" y="17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55" name="Freeform 1178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791" y="1310"/>
                      <a:ext cx="51" cy="46"/>
                    </a:xfrm>
                    <a:custGeom>
                      <a:avLst/>
                      <a:gdLst/>
                      <a:ahLst/>
                      <a:cxnLst>
                        <a:cxn ang="0">
                          <a:pos x="45" y="40"/>
                        </a:cxn>
                        <a:cxn ang="0">
                          <a:pos x="42" y="38"/>
                        </a:cxn>
                        <a:cxn ang="0">
                          <a:pos x="42" y="38"/>
                        </a:cxn>
                        <a:cxn ang="0">
                          <a:pos x="33" y="29"/>
                        </a:cxn>
                        <a:cxn ang="0">
                          <a:pos x="33" y="29"/>
                        </a:cxn>
                        <a:cxn ang="0">
                          <a:pos x="23" y="24"/>
                        </a:cxn>
                        <a:cxn ang="0">
                          <a:pos x="23" y="24"/>
                        </a:cxn>
                        <a:cxn ang="0">
                          <a:pos x="14" y="19"/>
                        </a:cxn>
                        <a:cxn ang="0">
                          <a:pos x="14" y="19"/>
                        </a:cxn>
                        <a:cxn ang="0">
                          <a:pos x="14" y="17"/>
                        </a:cxn>
                        <a:cxn ang="0">
                          <a:pos x="14" y="17"/>
                        </a:cxn>
                        <a:cxn ang="0">
                          <a:pos x="9" y="5"/>
                        </a:cxn>
                        <a:cxn ang="0">
                          <a:pos x="9" y="5"/>
                        </a:cxn>
                        <a:cxn ang="0">
                          <a:pos x="9" y="3"/>
                        </a:cxn>
                        <a:cxn ang="0">
                          <a:pos x="9" y="3"/>
                        </a:cxn>
                        <a:cxn ang="0">
                          <a:pos x="7" y="3"/>
                        </a:cxn>
                        <a:cxn ang="0">
                          <a:pos x="7" y="3"/>
                        </a:cxn>
                        <a:cxn ang="0">
                          <a:pos x="4" y="3"/>
                        </a:cxn>
                        <a:cxn ang="0">
                          <a:pos x="4" y="3"/>
                        </a:cxn>
                        <a:cxn ang="0">
                          <a:pos x="4" y="5"/>
                        </a:cxn>
                        <a:cxn ang="0">
                          <a:pos x="4" y="5"/>
                        </a:cxn>
                        <a:cxn ang="0">
                          <a:pos x="2" y="5"/>
                        </a:cxn>
                        <a:cxn ang="0">
                          <a:pos x="2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9" y="0"/>
                        </a:cxn>
                        <a:cxn ang="0">
                          <a:pos x="9" y="0"/>
                        </a:cxn>
                        <a:cxn ang="0">
                          <a:pos x="9" y="3"/>
                        </a:cxn>
                        <a:cxn ang="0">
                          <a:pos x="9" y="3"/>
                        </a:cxn>
                        <a:cxn ang="0">
                          <a:pos x="11" y="7"/>
                        </a:cxn>
                        <a:cxn ang="0">
                          <a:pos x="11" y="7"/>
                        </a:cxn>
                        <a:cxn ang="0">
                          <a:pos x="14" y="10"/>
                        </a:cxn>
                        <a:cxn ang="0">
                          <a:pos x="14" y="10"/>
                        </a:cxn>
                        <a:cxn ang="0">
                          <a:pos x="19" y="14"/>
                        </a:cxn>
                        <a:cxn ang="0">
                          <a:pos x="19" y="14"/>
                        </a:cxn>
                        <a:cxn ang="0">
                          <a:pos x="19" y="14"/>
                        </a:cxn>
                        <a:cxn ang="0">
                          <a:pos x="19" y="14"/>
                        </a:cxn>
                        <a:cxn ang="0">
                          <a:pos x="26" y="19"/>
                        </a:cxn>
                        <a:cxn ang="0">
                          <a:pos x="26" y="19"/>
                        </a:cxn>
                        <a:cxn ang="0">
                          <a:pos x="35" y="26"/>
                        </a:cxn>
                        <a:cxn ang="0">
                          <a:pos x="35" y="26"/>
                        </a:cxn>
                        <a:cxn ang="0">
                          <a:pos x="45" y="36"/>
                        </a:cxn>
                        <a:cxn ang="0">
                          <a:pos x="45" y="36"/>
                        </a:cxn>
                        <a:cxn ang="0">
                          <a:pos x="45" y="38"/>
                        </a:cxn>
                        <a:cxn ang="0">
                          <a:pos x="45" y="38"/>
                        </a:cxn>
                        <a:cxn ang="0">
                          <a:pos x="45" y="38"/>
                        </a:cxn>
                        <a:cxn ang="0">
                          <a:pos x="45" y="38"/>
                        </a:cxn>
                        <a:cxn ang="0">
                          <a:pos x="45" y="40"/>
                        </a:cxn>
                        <a:cxn ang="0">
                          <a:pos x="45" y="40"/>
                        </a:cxn>
                        <a:cxn ang="0">
                          <a:pos x="45" y="40"/>
                        </a:cxn>
                        <a:cxn ang="0">
                          <a:pos x="45" y="40"/>
                        </a:cxn>
                      </a:cxnLst>
                      <a:rect l="0" t="0" r="r" b="b"/>
                      <a:pathLst>
                        <a:path w="45" h="40">
                          <a:moveTo>
                            <a:pt x="45" y="40"/>
                          </a:moveTo>
                          <a:lnTo>
                            <a:pt x="42" y="38"/>
                          </a:lnTo>
                          <a:lnTo>
                            <a:pt x="42" y="38"/>
                          </a:lnTo>
                          <a:lnTo>
                            <a:pt x="33" y="29"/>
                          </a:lnTo>
                          <a:lnTo>
                            <a:pt x="33" y="29"/>
                          </a:lnTo>
                          <a:lnTo>
                            <a:pt x="23" y="24"/>
                          </a:lnTo>
                          <a:lnTo>
                            <a:pt x="23" y="24"/>
                          </a:lnTo>
                          <a:lnTo>
                            <a:pt x="14" y="19"/>
                          </a:lnTo>
                          <a:lnTo>
                            <a:pt x="14" y="19"/>
                          </a:lnTo>
                          <a:lnTo>
                            <a:pt x="14" y="17"/>
                          </a:lnTo>
                          <a:lnTo>
                            <a:pt x="14" y="17"/>
                          </a:lnTo>
                          <a:lnTo>
                            <a:pt x="9" y="5"/>
                          </a:lnTo>
                          <a:lnTo>
                            <a:pt x="9" y="5"/>
                          </a:lnTo>
                          <a:lnTo>
                            <a:pt x="9" y="3"/>
                          </a:lnTo>
                          <a:lnTo>
                            <a:pt x="9" y="3"/>
                          </a:lnTo>
                          <a:lnTo>
                            <a:pt x="7" y="3"/>
                          </a:lnTo>
                          <a:lnTo>
                            <a:pt x="7" y="3"/>
                          </a:lnTo>
                          <a:lnTo>
                            <a:pt x="4" y="3"/>
                          </a:lnTo>
                          <a:lnTo>
                            <a:pt x="4" y="3"/>
                          </a:lnTo>
                          <a:lnTo>
                            <a:pt x="4" y="5"/>
                          </a:lnTo>
                          <a:lnTo>
                            <a:pt x="4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9" y="0"/>
                          </a:lnTo>
                          <a:lnTo>
                            <a:pt x="9" y="0"/>
                          </a:lnTo>
                          <a:lnTo>
                            <a:pt x="9" y="3"/>
                          </a:lnTo>
                          <a:lnTo>
                            <a:pt x="9" y="3"/>
                          </a:lnTo>
                          <a:lnTo>
                            <a:pt x="11" y="7"/>
                          </a:lnTo>
                          <a:lnTo>
                            <a:pt x="11" y="7"/>
                          </a:lnTo>
                          <a:lnTo>
                            <a:pt x="14" y="10"/>
                          </a:lnTo>
                          <a:lnTo>
                            <a:pt x="14" y="10"/>
                          </a:lnTo>
                          <a:lnTo>
                            <a:pt x="19" y="14"/>
                          </a:lnTo>
                          <a:lnTo>
                            <a:pt x="19" y="14"/>
                          </a:lnTo>
                          <a:lnTo>
                            <a:pt x="19" y="14"/>
                          </a:lnTo>
                          <a:lnTo>
                            <a:pt x="19" y="14"/>
                          </a:lnTo>
                          <a:lnTo>
                            <a:pt x="26" y="19"/>
                          </a:lnTo>
                          <a:lnTo>
                            <a:pt x="26" y="19"/>
                          </a:lnTo>
                          <a:lnTo>
                            <a:pt x="35" y="26"/>
                          </a:lnTo>
                          <a:lnTo>
                            <a:pt x="35" y="26"/>
                          </a:lnTo>
                          <a:lnTo>
                            <a:pt x="45" y="36"/>
                          </a:lnTo>
                          <a:lnTo>
                            <a:pt x="45" y="36"/>
                          </a:lnTo>
                          <a:lnTo>
                            <a:pt x="45" y="38"/>
                          </a:lnTo>
                          <a:lnTo>
                            <a:pt x="45" y="38"/>
                          </a:lnTo>
                          <a:lnTo>
                            <a:pt x="45" y="38"/>
                          </a:lnTo>
                          <a:lnTo>
                            <a:pt x="45" y="38"/>
                          </a:lnTo>
                          <a:lnTo>
                            <a:pt x="45" y="40"/>
                          </a:lnTo>
                          <a:lnTo>
                            <a:pt x="45" y="40"/>
                          </a:lnTo>
                          <a:lnTo>
                            <a:pt x="45" y="40"/>
                          </a:lnTo>
                          <a:lnTo>
                            <a:pt x="45" y="40"/>
                          </a:lnTo>
                          <a:close/>
                        </a:path>
                      </a:pathLst>
                    </a:custGeom>
                    <a:solidFill>
                      <a:srgbClr val="0070C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56" name="Freeform 1179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879" y="1343"/>
                      <a:ext cx="21" cy="8"/>
                    </a:xfrm>
                    <a:custGeom>
                      <a:avLst/>
                      <a:gdLst/>
                      <a:ahLst/>
                      <a:cxnLst>
                        <a:cxn ang="0">
                          <a:pos x="4" y="4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4" y="0"/>
                        </a:cxn>
                        <a:cxn ang="0">
                          <a:pos x="4" y="0"/>
                        </a:cxn>
                        <a:cxn ang="0">
                          <a:pos x="4" y="0"/>
                        </a:cxn>
                        <a:cxn ang="0">
                          <a:pos x="4" y="0"/>
                        </a:cxn>
                        <a:cxn ang="0">
                          <a:pos x="9" y="0"/>
                        </a:cxn>
                        <a:cxn ang="0">
                          <a:pos x="9" y="0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6" y="0"/>
                        </a:cxn>
                        <a:cxn ang="0">
                          <a:pos x="16" y="0"/>
                        </a:cxn>
                        <a:cxn ang="0">
                          <a:pos x="16" y="0"/>
                        </a:cxn>
                        <a:cxn ang="0">
                          <a:pos x="16" y="0"/>
                        </a:cxn>
                        <a:cxn ang="0">
                          <a:pos x="18" y="0"/>
                        </a:cxn>
                        <a:cxn ang="0">
                          <a:pos x="18" y="0"/>
                        </a:cxn>
                        <a:cxn ang="0">
                          <a:pos x="18" y="2"/>
                        </a:cxn>
                        <a:cxn ang="0">
                          <a:pos x="18" y="2"/>
                        </a:cxn>
                        <a:cxn ang="0">
                          <a:pos x="18" y="2"/>
                        </a:cxn>
                        <a:cxn ang="0">
                          <a:pos x="18" y="2"/>
                        </a:cxn>
                        <a:cxn ang="0">
                          <a:pos x="16" y="7"/>
                        </a:cxn>
                        <a:cxn ang="0">
                          <a:pos x="16" y="7"/>
                        </a:cxn>
                        <a:cxn ang="0">
                          <a:pos x="14" y="7"/>
                        </a:cxn>
                        <a:cxn ang="0">
                          <a:pos x="14" y="7"/>
                        </a:cxn>
                        <a:cxn ang="0">
                          <a:pos x="14" y="4"/>
                        </a:cxn>
                        <a:cxn ang="0">
                          <a:pos x="14" y="4"/>
                        </a:cxn>
                        <a:cxn ang="0">
                          <a:pos x="14" y="2"/>
                        </a:cxn>
                        <a:cxn ang="0">
                          <a:pos x="14" y="2"/>
                        </a:cxn>
                        <a:cxn ang="0">
                          <a:pos x="14" y="2"/>
                        </a:cxn>
                        <a:cxn ang="0">
                          <a:pos x="14" y="2"/>
                        </a:cxn>
                        <a:cxn ang="0">
                          <a:pos x="9" y="2"/>
                        </a:cxn>
                        <a:cxn ang="0">
                          <a:pos x="9" y="2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4" y="4"/>
                        </a:cxn>
                        <a:cxn ang="0">
                          <a:pos x="4" y="4"/>
                        </a:cxn>
                        <a:cxn ang="0">
                          <a:pos x="4" y="4"/>
                        </a:cxn>
                        <a:cxn ang="0">
                          <a:pos x="4" y="4"/>
                        </a:cxn>
                      </a:cxnLst>
                      <a:rect l="0" t="0" r="r" b="b"/>
                      <a:pathLst>
                        <a:path w="18" h="7">
                          <a:moveTo>
                            <a:pt x="4" y="4"/>
                          </a:move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4" y="0"/>
                          </a:lnTo>
                          <a:lnTo>
                            <a:pt x="4" y="0"/>
                          </a:lnTo>
                          <a:lnTo>
                            <a:pt x="4" y="0"/>
                          </a:lnTo>
                          <a:lnTo>
                            <a:pt x="4" y="0"/>
                          </a:lnTo>
                          <a:lnTo>
                            <a:pt x="9" y="0"/>
                          </a:lnTo>
                          <a:lnTo>
                            <a:pt x="9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6" y="0"/>
                          </a:lnTo>
                          <a:lnTo>
                            <a:pt x="16" y="0"/>
                          </a:lnTo>
                          <a:lnTo>
                            <a:pt x="16" y="0"/>
                          </a:lnTo>
                          <a:lnTo>
                            <a:pt x="16" y="0"/>
                          </a:lnTo>
                          <a:lnTo>
                            <a:pt x="18" y="0"/>
                          </a:lnTo>
                          <a:lnTo>
                            <a:pt x="18" y="0"/>
                          </a:lnTo>
                          <a:lnTo>
                            <a:pt x="18" y="2"/>
                          </a:lnTo>
                          <a:lnTo>
                            <a:pt x="18" y="2"/>
                          </a:lnTo>
                          <a:lnTo>
                            <a:pt x="18" y="2"/>
                          </a:lnTo>
                          <a:lnTo>
                            <a:pt x="18" y="2"/>
                          </a:lnTo>
                          <a:lnTo>
                            <a:pt x="16" y="7"/>
                          </a:lnTo>
                          <a:lnTo>
                            <a:pt x="16" y="7"/>
                          </a:lnTo>
                          <a:lnTo>
                            <a:pt x="14" y="7"/>
                          </a:lnTo>
                          <a:lnTo>
                            <a:pt x="14" y="7"/>
                          </a:lnTo>
                          <a:lnTo>
                            <a:pt x="14" y="4"/>
                          </a:lnTo>
                          <a:lnTo>
                            <a:pt x="14" y="4"/>
                          </a:lnTo>
                          <a:lnTo>
                            <a:pt x="14" y="2"/>
                          </a:lnTo>
                          <a:lnTo>
                            <a:pt x="14" y="2"/>
                          </a:lnTo>
                          <a:lnTo>
                            <a:pt x="14" y="2"/>
                          </a:lnTo>
                          <a:lnTo>
                            <a:pt x="14" y="2"/>
                          </a:lnTo>
                          <a:lnTo>
                            <a:pt x="9" y="2"/>
                          </a:lnTo>
                          <a:lnTo>
                            <a:pt x="9" y="2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4" y="4"/>
                          </a:lnTo>
                          <a:lnTo>
                            <a:pt x="4" y="4"/>
                          </a:lnTo>
                          <a:lnTo>
                            <a:pt x="4" y="4"/>
                          </a:lnTo>
                          <a:lnTo>
                            <a:pt x="4" y="4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57" name="Freeform 1180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862" y="1351"/>
                      <a:ext cx="14" cy="5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4"/>
                        </a:cxn>
                        <a:cxn ang="0">
                          <a:pos x="0" y="4"/>
                        </a:cxn>
                        <a:cxn ang="0">
                          <a:pos x="0" y="4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3" y="0"/>
                        </a:cxn>
                        <a:cxn ang="0">
                          <a:pos x="3" y="0"/>
                        </a:cxn>
                        <a:cxn ang="0">
                          <a:pos x="8" y="0"/>
                        </a:cxn>
                        <a:cxn ang="0">
                          <a:pos x="8" y="0"/>
                        </a:cxn>
                        <a:cxn ang="0">
                          <a:pos x="12" y="0"/>
                        </a:cxn>
                        <a:cxn ang="0">
                          <a:pos x="12" y="0"/>
                        </a:cxn>
                        <a:cxn ang="0">
                          <a:pos x="12" y="0"/>
                        </a:cxn>
                        <a:cxn ang="0">
                          <a:pos x="12" y="0"/>
                        </a:cxn>
                        <a:cxn ang="0">
                          <a:pos x="12" y="2"/>
                        </a:cxn>
                        <a:cxn ang="0">
                          <a:pos x="12" y="2"/>
                        </a:cxn>
                        <a:cxn ang="0">
                          <a:pos x="12" y="2"/>
                        </a:cxn>
                        <a:cxn ang="0">
                          <a:pos x="12" y="2"/>
                        </a:cxn>
                        <a:cxn ang="0">
                          <a:pos x="12" y="2"/>
                        </a:cxn>
                        <a:cxn ang="0">
                          <a:pos x="12" y="2"/>
                        </a:cxn>
                        <a:cxn ang="0">
                          <a:pos x="8" y="2"/>
                        </a:cxn>
                        <a:cxn ang="0">
                          <a:pos x="8" y="2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3" y="4"/>
                        </a:cxn>
                        <a:cxn ang="0">
                          <a:pos x="3" y="4"/>
                        </a:cxn>
                        <a:cxn ang="0">
                          <a:pos x="0" y="4"/>
                        </a:cxn>
                        <a:cxn ang="0">
                          <a:pos x="0" y="4"/>
                        </a:cxn>
                        <a:cxn ang="0">
                          <a:pos x="0" y="4"/>
                        </a:cxn>
                        <a:cxn ang="0">
                          <a:pos x="0" y="4"/>
                        </a:cxn>
                      </a:cxnLst>
                      <a:rect l="0" t="0" r="r" b="b"/>
                      <a:pathLst>
                        <a:path w="12" h="4">
                          <a:moveTo>
                            <a:pt x="0" y="4"/>
                          </a:moveTo>
                          <a:lnTo>
                            <a:pt x="0" y="4"/>
                          </a:lnTo>
                          <a:lnTo>
                            <a:pt x="0" y="4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3" y="0"/>
                          </a:lnTo>
                          <a:lnTo>
                            <a:pt x="3" y="0"/>
                          </a:lnTo>
                          <a:lnTo>
                            <a:pt x="8" y="0"/>
                          </a:lnTo>
                          <a:lnTo>
                            <a:pt x="8" y="0"/>
                          </a:lnTo>
                          <a:lnTo>
                            <a:pt x="12" y="0"/>
                          </a:lnTo>
                          <a:lnTo>
                            <a:pt x="12" y="0"/>
                          </a:lnTo>
                          <a:lnTo>
                            <a:pt x="12" y="0"/>
                          </a:lnTo>
                          <a:lnTo>
                            <a:pt x="12" y="0"/>
                          </a:lnTo>
                          <a:lnTo>
                            <a:pt x="12" y="2"/>
                          </a:lnTo>
                          <a:lnTo>
                            <a:pt x="12" y="2"/>
                          </a:lnTo>
                          <a:lnTo>
                            <a:pt x="12" y="2"/>
                          </a:lnTo>
                          <a:lnTo>
                            <a:pt x="12" y="2"/>
                          </a:lnTo>
                          <a:lnTo>
                            <a:pt x="12" y="2"/>
                          </a:lnTo>
                          <a:lnTo>
                            <a:pt x="12" y="2"/>
                          </a:lnTo>
                          <a:lnTo>
                            <a:pt x="8" y="2"/>
                          </a:lnTo>
                          <a:lnTo>
                            <a:pt x="8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3" y="4"/>
                          </a:lnTo>
                          <a:lnTo>
                            <a:pt x="3" y="4"/>
                          </a:lnTo>
                          <a:lnTo>
                            <a:pt x="0" y="4"/>
                          </a:lnTo>
                          <a:lnTo>
                            <a:pt x="0" y="4"/>
                          </a:lnTo>
                          <a:lnTo>
                            <a:pt x="0" y="4"/>
                          </a:lnTo>
                          <a:lnTo>
                            <a:pt x="0" y="4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58" name="Freeform 1181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892" y="1351"/>
                      <a:ext cx="8" cy="26"/>
                    </a:xfrm>
                    <a:custGeom>
                      <a:avLst/>
                      <a:gdLst/>
                      <a:ahLst/>
                      <a:cxnLst>
                        <a:cxn ang="0">
                          <a:pos x="5" y="23"/>
                        </a:cxn>
                        <a:cxn ang="0">
                          <a:pos x="3" y="19"/>
                        </a:cxn>
                        <a:cxn ang="0">
                          <a:pos x="3" y="19"/>
                        </a:cxn>
                        <a:cxn ang="0">
                          <a:pos x="0" y="16"/>
                        </a:cxn>
                        <a:cxn ang="0">
                          <a:pos x="0" y="16"/>
                        </a:cxn>
                        <a:cxn ang="0">
                          <a:pos x="0" y="11"/>
                        </a:cxn>
                        <a:cxn ang="0">
                          <a:pos x="0" y="11"/>
                        </a:cxn>
                        <a:cxn ang="0">
                          <a:pos x="0" y="11"/>
                        </a:cxn>
                        <a:cxn ang="0">
                          <a:pos x="0" y="11"/>
                        </a:cxn>
                        <a:cxn ang="0">
                          <a:pos x="0" y="9"/>
                        </a:cxn>
                        <a:cxn ang="0">
                          <a:pos x="0" y="9"/>
                        </a:cxn>
                        <a:cxn ang="0">
                          <a:pos x="0" y="9"/>
                        </a:cxn>
                        <a:cxn ang="0">
                          <a:pos x="0" y="9"/>
                        </a:cxn>
                        <a:cxn ang="0">
                          <a:pos x="3" y="0"/>
                        </a:cxn>
                        <a:cxn ang="0">
                          <a:pos x="3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0" y="11"/>
                        </a:cxn>
                        <a:cxn ang="0">
                          <a:pos x="0" y="11"/>
                        </a:cxn>
                        <a:cxn ang="0">
                          <a:pos x="0" y="16"/>
                        </a:cxn>
                        <a:cxn ang="0">
                          <a:pos x="0" y="16"/>
                        </a:cxn>
                        <a:cxn ang="0">
                          <a:pos x="3" y="19"/>
                        </a:cxn>
                        <a:cxn ang="0">
                          <a:pos x="3" y="19"/>
                        </a:cxn>
                        <a:cxn ang="0">
                          <a:pos x="5" y="19"/>
                        </a:cxn>
                        <a:cxn ang="0">
                          <a:pos x="5" y="19"/>
                        </a:cxn>
                        <a:cxn ang="0">
                          <a:pos x="5" y="19"/>
                        </a:cxn>
                        <a:cxn ang="0">
                          <a:pos x="5" y="19"/>
                        </a:cxn>
                        <a:cxn ang="0">
                          <a:pos x="7" y="19"/>
                        </a:cxn>
                        <a:cxn ang="0">
                          <a:pos x="7" y="19"/>
                        </a:cxn>
                        <a:cxn ang="0">
                          <a:pos x="7" y="19"/>
                        </a:cxn>
                        <a:cxn ang="0">
                          <a:pos x="7" y="19"/>
                        </a:cxn>
                        <a:cxn ang="0">
                          <a:pos x="7" y="19"/>
                        </a:cxn>
                        <a:cxn ang="0">
                          <a:pos x="7" y="19"/>
                        </a:cxn>
                        <a:cxn ang="0">
                          <a:pos x="7" y="21"/>
                        </a:cxn>
                        <a:cxn ang="0">
                          <a:pos x="7" y="21"/>
                        </a:cxn>
                        <a:cxn ang="0">
                          <a:pos x="5" y="23"/>
                        </a:cxn>
                        <a:cxn ang="0">
                          <a:pos x="5" y="23"/>
                        </a:cxn>
                        <a:cxn ang="0">
                          <a:pos x="5" y="23"/>
                        </a:cxn>
                        <a:cxn ang="0">
                          <a:pos x="5" y="23"/>
                        </a:cxn>
                        <a:cxn ang="0">
                          <a:pos x="5" y="23"/>
                        </a:cxn>
                        <a:cxn ang="0">
                          <a:pos x="5" y="23"/>
                        </a:cxn>
                      </a:cxnLst>
                      <a:rect l="0" t="0" r="r" b="b"/>
                      <a:pathLst>
                        <a:path w="7" h="23">
                          <a:moveTo>
                            <a:pt x="5" y="23"/>
                          </a:moveTo>
                          <a:lnTo>
                            <a:pt x="3" y="19"/>
                          </a:lnTo>
                          <a:lnTo>
                            <a:pt x="3" y="19"/>
                          </a:lnTo>
                          <a:lnTo>
                            <a:pt x="0" y="16"/>
                          </a:lnTo>
                          <a:lnTo>
                            <a:pt x="0" y="16"/>
                          </a:lnTo>
                          <a:lnTo>
                            <a:pt x="0" y="11"/>
                          </a:lnTo>
                          <a:lnTo>
                            <a:pt x="0" y="11"/>
                          </a:lnTo>
                          <a:lnTo>
                            <a:pt x="0" y="11"/>
                          </a:lnTo>
                          <a:lnTo>
                            <a:pt x="0" y="11"/>
                          </a:lnTo>
                          <a:lnTo>
                            <a:pt x="0" y="9"/>
                          </a:lnTo>
                          <a:lnTo>
                            <a:pt x="0" y="9"/>
                          </a:lnTo>
                          <a:lnTo>
                            <a:pt x="0" y="9"/>
                          </a:lnTo>
                          <a:lnTo>
                            <a:pt x="0" y="9"/>
                          </a:lnTo>
                          <a:lnTo>
                            <a:pt x="3" y="0"/>
                          </a:lnTo>
                          <a:lnTo>
                            <a:pt x="3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0" y="11"/>
                          </a:lnTo>
                          <a:lnTo>
                            <a:pt x="0" y="11"/>
                          </a:lnTo>
                          <a:lnTo>
                            <a:pt x="0" y="16"/>
                          </a:lnTo>
                          <a:lnTo>
                            <a:pt x="0" y="16"/>
                          </a:lnTo>
                          <a:lnTo>
                            <a:pt x="3" y="19"/>
                          </a:lnTo>
                          <a:lnTo>
                            <a:pt x="3" y="19"/>
                          </a:lnTo>
                          <a:lnTo>
                            <a:pt x="5" y="19"/>
                          </a:lnTo>
                          <a:lnTo>
                            <a:pt x="5" y="19"/>
                          </a:lnTo>
                          <a:lnTo>
                            <a:pt x="5" y="19"/>
                          </a:lnTo>
                          <a:lnTo>
                            <a:pt x="5" y="19"/>
                          </a:lnTo>
                          <a:lnTo>
                            <a:pt x="7" y="19"/>
                          </a:lnTo>
                          <a:lnTo>
                            <a:pt x="7" y="19"/>
                          </a:lnTo>
                          <a:lnTo>
                            <a:pt x="7" y="19"/>
                          </a:lnTo>
                          <a:lnTo>
                            <a:pt x="7" y="19"/>
                          </a:lnTo>
                          <a:lnTo>
                            <a:pt x="7" y="19"/>
                          </a:lnTo>
                          <a:lnTo>
                            <a:pt x="7" y="19"/>
                          </a:lnTo>
                          <a:lnTo>
                            <a:pt x="7" y="21"/>
                          </a:lnTo>
                          <a:lnTo>
                            <a:pt x="7" y="21"/>
                          </a:lnTo>
                          <a:lnTo>
                            <a:pt x="5" y="23"/>
                          </a:lnTo>
                          <a:lnTo>
                            <a:pt x="5" y="23"/>
                          </a:lnTo>
                          <a:lnTo>
                            <a:pt x="5" y="23"/>
                          </a:lnTo>
                          <a:lnTo>
                            <a:pt x="5" y="23"/>
                          </a:lnTo>
                          <a:lnTo>
                            <a:pt x="5" y="23"/>
                          </a:lnTo>
                          <a:lnTo>
                            <a:pt x="5" y="23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59" name="Freeform 1182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852" y="1353"/>
                      <a:ext cx="19" cy="20"/>
                    </a:xfrm>
                    <a:custGeom>
                      <a:avLst/>
                      <a:gdLst/>
                      <a:ahLst/>
                      <a:cxnLst>
                        <a:cxn ang="0">
                          <a:pos x="5" y="17"/>
                        </a:cxn>
                        <a:cxn ang="0">
                          <a:pos x="2" y="14"/>
                        </a:cxn>
                        <a:cxn ang="0">
                          <a:pos x="2" y="14"/>
                        </a:cxn>
                        <a:cxn ang="0">
                          <a:pos x="5" y="14"/>
                        </a:cxn>
                        <a:cxn ang="0">
                          <a:pos x="5" y="14"/>
                        </a:cxn>
                        <a:cxn ang="0">
                          <a:pos x="5" y="14"/>
                        </a:cxn>
                        <a:cxn ang="0">
                          <a:pos x="5" y="14"/>
                        </a:cxn>
                        <a:cxn ang="0">
                          <a:pos x="7" y="14"/>
                        </a:cxn>
                        <a:cxn ang="0">
                          <a:pos x="7" y="14"/>
                        </a:cxn>
                        <a:cxn ang="0">
                          <a:pos x="7" y="14"/>
                        </a:cxn>
                        <a:cxn ang="0">
                          <a:pos x="7" y="14"/>
                        </a:cxn>
                        <a:cxn ang="0">
                          <a:pos x="7" y="9"/>
                        </a:cxn>
                        <a:cxn ang="0">
                          <a:pos x="7" y="9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9" y="2"/>
                        </a:cxn>
                        <a:cxn ang="0">
                          <a:pos x="9" y="2"/>
                        </a:cxn>
                        <a:cxn ang="0">
                          <a:pos x="9" y="5"/>
                        </a:cxn>
                        <a:cxn ang="0">
                          <a:pos x="9" y="5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9" y="14"/>
                        </a:cxn>
                        <a:cxn ang="0">
                          <a:pos x="9" y="14"/>
                        </a:cxn>
                        <a:cxn ang="0">
                          <a:pos x="9" y="14"/>
                        </a:cxn>
                        <a:cxn ang="0">
                          <a:pos x="9" y="14"/>
                        </a:cxn>
                        <a:cxn ang="0">
                          <a:pos x="12" y="14"/>
                        </a:cxn>
                        <a:cxn ang="0">
                          <a:pos x="12" y="14"/>
                        </a:cxn>
                        <a:cxn ang="0">
                          <a:pos x="14" y="12"/>
                        </a:cxn>
                        <a:cxn ang="0">
                          <a:pos x="14" y="12"/>
                        </a:cxn>
                        <a:cxn ang="0">
                          <a:pos x="14" y="12"/>
                        </a:cxn>
                        <a:cxn ang="0">
                          <a:pos x="14" y="12"/>
                        </a:cxn>
                        <a:cxn ang="0">
                          <a:pos x="17" y="14"/>
                        </a:cxn>
                        <a:cxn ang="0">
                          <a:pos x="17" y="14"/>
                        </a:cxn>
                        <a:cxn ang="0">
                          <a:pos x="17" y="17"/>
                        </a:cxn>
                        <a:cxn ang="0">
                          <a:pos x="17" y="17"/>
                        </a:cxn>
                        <a:cxn ang="0">
                          <a:pos x="5" y="17"/>
                        </a:cxn>
                        <a:cxn ang="0">
                          <a:pos x="5" y="17"/>
                        </a:cxn>
                        <a:cxn ang="0">
                          <a:pos x="5" y="17"/>
                        </a:cxn>
                        <a:cxn ang="0">
                          <a:pos x="5" y="17"/>
                        </a:cxn>
                      </a:cxnLst>
                      <a:rect l="0" t="0" r="r" b="b"/>
                      <a:pathLst>
                        <a:path w="17" h="17">
                          <a:moveTo>
                            <a:pt x="5" y="17"/>
                          </a:moveTo>
                          <a:lnTo>
                            <a:pt x="2" y="14"/>
                          </a:lnTo>
                          <a:lnTo>
                            <a:pt x="2" y="14"/>
                          </a:lnTo>
                          <a:lnTo>
                            <a:pt x="5" y="14"/>
                          </a:lnTo>
                          <a:lnTo>
                            <a:pt x="5" y="14"/>
                          </a:lnTo>
                          <a:lnTo>
                            <a:pt x="5" y="14"/>
                          </a:lnTo>
                          <a:lnTo>
                            <a:pt x="5" y="14"/>
                          </a:lnTo>
                          <a:lnTo>
                            <a:pt x="7" y="14"/>
                          </a:lnTo>
                          <a:lnTo>
                            <a:pt x="7" y="14"/>
                          </a:lnTo>
                          <a:lnTo>
                            <a:pt x="7" y="14"/>
                          </a:lnTo>
                          <a:lnTo>
                            <a:pt x="7" y="14"/>
                          </a:lnTo>
                          <a:lnTo>
                            <a:pt x="7" y="9"/>
                          </a:lnTo>
                          <a:lnTo>
                            <a:pt x="7" y="9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9" y="2"/>
                          </a:lnTo>
                          <a:lnTo>
                            <a:pt x="9" y="2"/>
                          </a:lnTo>
                          <a:lnTo>
                            <a:pt x="9" y="5"/>
                          </a:lnTo>
                          <a:lnTo>
                            <a:pt x="9" y="5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9" y="14"/>
                          </a:lnTo>
                          <a:lnTo>
                            <a:pt x="9" y="14"/>
                          </a:lnTo>
                          <a:lnTo>
                            <a:pt x="9" y="14"/>
                          </a:lnTo>
                          <a:lnTo>
                            <a:pt x="9" y="14"/>
                          </a:lnTo>
                          <a:lnTo>
                            <a:pt x="12" y="14"/>
                          </a:lnTo>
                          <a:lnTo>
                            <a:pt x="12" y="14"/>
                          </a:lnTo>
                          <a:lnTo>
                            <a:pt x="14" y="12"/>
                          </a:lnTo>
                          <a:lnTo>
                            <a:pt x="14" y="12"/>
                          </a:lnTo>
                          <a:lnTo>
                            <a:pt x="14" y="12"/>
                          </a:lnTo>
                          <a:lnTo>
                            <a:pt x="14" y="12"/>
                          </a:lnTo>
                          <a:lnTo>
                            <a:pt x="17" y="14"/>
                          </a:lnTo>
                          <a:lnTo>
                            <a:pt x="17" y="14"/>
                          </a:lnTo>
                          <a:lnTo>
                            <a:pt x="17" y="17"/>
                          </a:lnTo>
                          <a:lnTo>
                            <a:pt x="17" y="17"/>
                          </a:lnTo>
                          <a:lnTo>
                            <a:pt x="5" y="17"/>
                          </a:lnTo>
                          <a:lnTo>
                            <a:pt x="5" y="17"/>
                          </a:lnTo>
                          <a:lnTo>
                            <a:pt x="5" y="17"/>
                          </a:lnTo>
                          <a:lnTo>
                            <a:pt x="5" y="17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60" name="Freeform 1183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943" y="1364"/>
                      <a:ext cx="142" cy="102"/>
                    </a:xfrm>
                    <a:custGeom>
                      <a:avLst/>
                      <a:gdLst/>
                      <a:ahLst/>
                      <a:cxnLst>
                        <a:cxn ang="0">
                          <a:pos x="107" y="83"/>
                        </a:cxn>
                        <a:cxn ang="0">
                          <a:pos x="99" y="78"/>
                        </a:cxn>
                        <a:cxn ang="0">
                          <a:pos x="95" y="71"/>
                        </a:cxn>
                        <a:cxn ang="0">
                          <a:pos x="95" y="69"/>
                        </a:cxn>
                        <a:cxn ang="0">
                          <a:pos x="92" y="55"/>
                        </a:cxn>
                        <a:cxn ang="0">
                          <a:pos x="88" y="50"/>
                        </a:cxn>
                        <a:cxn ang="0">
                          <a:pos x="78" y="50"/>
                        </a:cxn>
                        <a:cxn ang="0">
                          <a:pos x="66" y="38"/>
                        </a:cxn>
                        <a:cxn ang="0">
                          <a:pos x="69" y="38"/>
                        </a:cxn>
                        <a:cxn ang="0">
                          <a:pos x="62" y="29"/>
                        </a:cxn>
                        <a:cxn ang="0">
                          <a:pos x="40" y="26"/>
                        </a:cxn>
                        <a:cxn ang="0">
                          <a:pos x="40" y="24"/>
                        </a:cxn>
                        <a:cxn ang="0">
                          <a:pos x="33" y="22"/>
                        </a:cxn>
                        <a:cxn ang="0">
                          <a:pos x="31" y="24"/>
                        </a:cxn>
                        <a:cxn ang="0">
                          <a:pos x="22" y="24"/>
                        </a:cxn>
                        <a:cxn ang="0">
                          <a:pos x="22" y="19"/>
                        </a:cxn>
                        <a:cxn ang="0">
                          <a:pos x="10" y="17"/>
                        </a:cxn>
                        <a:cxn ang="0">
                          <a:pos x="0" y="12"/>
                        </a:cxn>
                        <a:cxn ang="0">
                          <a:pos x="3" y="0"/>
                        </a:cxn>
                        <a:cxn ang="0">
                          <a:pos x="10" y="3"/>
                        </a:cxn>
                        <a:cxn ang="0">
                          <a:pos x="33" y="8"/>
                        </a:cxn>
                        <a:cxn ang="0">
                          <a:pos x="38" y="5"/>
                        </a:cxn>
                        <a:cxn ang="0">
                          <a:pos x="43" y="3"/>
                        </a:cxn>
                        <a:cxn ang="0">
                          <a:pos x="48" y="3"/>
                        </a:cxn>
                        <a:cxn ang="0">
                          <a:pos x="52" y="8"/>
                        </a:cxn>
                        <a:cxn ang="0">
                          <a:pos x="62" y="24"/>
                        </a:cxn>
                        <a:cxn ang="0">
                          <a:pos x="66" y="26"/>
                        </a:cxn>
                        <a:cxn ang="0">
                          <a:pos x="69" y="26"/>
                        </a:cxn>
                        <a:cxn ang="0">
                          <a:pos x="71" y="24"/>
                        </a:cxn>
                        <a:cxn ang="0">
                          <a:pos x="76" y="24"/>
                        </a:cxn>
                        <a:cxn ang="0">
                          <a:pos x="83" y="29"/>
                        </a:cxn>
                        <a:cxn ang="0">
                          <a:pos x="90" y="36"/>
                        </a:cxn>
                        <a:cxn ang="0">
                          <a:pos x="90" y="45"/>
                        </a:cxn>
                        <a:cxn ang="0">
                          <a:pos x="97" y="55"/>
                        </a:cxn>
                        <a:cxn ang="0">
                          <a:pos x="99" y="52"/>
                        </a:cxn>
                        <a:cxn ang="0">
                          <a:pos x="99" y="52"/>
                        </a:cxn>
                        <a:cxn ang="0">
                          <a:pos x="99" y="48"/>
                        </a:cxn>
                        <a:cxn ang="0">
                          <a:pos x="104" y="52"/>
                        </a:cxn>
                        <a:cxn ang="0">
                          <a:pos x="104" y="57"/>
                        </a:cxn>
                        <a:cxn ang="0">
                          <a:pos x="102" y="57"/>
                        </a:cxn>
                        <a:cxn ang="0">
                          <a:pos x="102" y="62"/>
                        </a:cxn>
                        <a:cxn ang="0">
                          <a:pos x="109" y="64"/>
                        </a:cxn>
                        <a:cxn ang="0">
                          <a:pos x="114" y="64"/>
                        </a:cxn>
                        <a:cxn ang="0">
                          <a:pos x="116" y="71"/>
                        </a:cxn>
                        <a:cxn ang="0">
                          <a:pos x="118" y="76"/>
                        </a:cxn>
                        <a:cxn ang="0">
                          <a:pos x="123" y="76"/>
                        </a:cxn>
                        <a:cxn ang="0">
                          <a:pos x="123" y="76"/>
                        </a:cxn>
                        <a:cxn ang="0">
                          <a:pos x="123" y="74"/>
                        </a:cxn>
                        <a:cxn ang="0">
                          <a:pos x="125" y="78"/>
                        </a:cxn>
                        <a:cxn ang="0">
                          <a:pos x="123" y="86"/>
                        </a:cxn>
                        <a:cxn ang="0">
                          <a:pos x="121" y="90"/>
                        </a:cxn>
                      </a:cxnLst>
                      <a:rect l="0" t="0" r="r" b="b"/>
                      <a:pathLst>
                        <a:path w="125" h="90">
                          <a:moveTo>
                            <a:pt x="121" y="90"/>
                          </a:moveTo>
                          <a:lnTo>
                            <a:pt x="116" y="86"/>
                          </a:lnTo>
                          <a:lnTo>
                            <a:pt x="116" y="86"/>
                          </a:lnTo>
                          <a:lnTo>
                            <a:pt x="107" y="83"/>
                          </a:lnTo>
                          <a:lnTo>
                            <a:pt x="107" y="83"/>
                          </a:lnTo>
                          <a:lnTo>
                            <a:pt x="102" y="81"/>
                          </a:lnTo>
                          <a:lnTo>
                            <a:pt x="102" y="81"/>
                          </a:lnTo>
                          <a:lnTo>
                            <a:pt x="99" y="78"/>
                          </a:lnTo>
                          <a:lnTo>
                            <a:pt x="99" y="78"/>
                          </a:lnTo>
                          <a:lnTo>
                            <a:pt x="95" y="71"/>
                          </a:lnTo>
                          <a:lnTo>
                            <a:pt x="95" y="71"/>
                          </a:lnTo>
                          <a:lnTo>
                            <a:pt x="95" y="71"/>
                          </a:lnTo>
                          <a:lnTo>
                            <a:pt x="95" y="71"/>
                          </a:lnTo>
                          <a:lnTo>
                            <a:pt x="95" y="69"/>
                          </a:lnTo>
                          <a:lnTo>
                            <a:pt x="95" y="69"/>
                          </a:lnTo>
                          <a:lnTo>
                            <a:pt x="95" y="69"/>
                          </a:lnTo>
                          <a:lnTo>
                            <a:pt x="95" y="69"/>
                          </a:lnTo>
                          <a:lnTo>
                            <a:pt x="95" y="62"/>
                          </a:lnTo>
                          <a:lnTo>
                            <a:pt x="95" y="62"/>
                          </a:lnTo>
                          <a:lnTo>
                            <a:pt x="92" y="55"/>
                          </a:lnTo>
                          <a:lnTo>
                            <a:pt x="92" y="55"/>
                          </a:lnTo>
                          <a:lnTo>
                            <a:pt x="90" y="52"/>
                          </a:lnTo>
                          <a:lnTo>
                            <a:pt x="90" y="52"/>
                          </a:lnTo>
                          <a:lnTo>
                            <a:pt x="88" y="50"/>
                          </a:lnTo>
                          <a:lnTo>
                            <a:pt x="88" y="50"/>
                          </a:lnTo>
                          <a:lnTo>
                            <a:pt x="85" y="50"/>
                          </a:lnTo>
                          <a:lnTo>
                            <a:pt x="85" y="50"/>
                          </a:lnTo>
                          <a:lnTo>
                            <a:pt x="78" y="50"/>
                          </a:lnTo>
                          <a:lnTo>
                            <a:pt x="78" y="50"/>
                          </a:lnTo>
                          <a:lnTo>
                            <a:pt x="69" y="45"/>
                          </a:lnTo>
                          <a:lnTo>
                            <a:pt x="69" y="45"/>
                          </a:lnTo>
                          <a:lnTo>
                            <a:pt x="66" y="38"/>
                          </a:lnTo>
                          <a:lnTo>
                            <a:pt x="66" y="38"/>
                          </a:lnTo>
                          <a:lnTo>
                            <a:pt x="69" y="38"/>
                          </a:lnTo>
                          <a:lnTo>
                            <a:pt x="69" y="38"/>
                          </a:lnTo>
                          <a:lnTo>
                            <a:pt x="69" y="38"/>
                          </a:lnTo>
                          <a:lnTo>
                            <a:pt x="69" y="38"/>
                          </a:lnTo>
                          <a:lnTo>
                            <a:pt x="69" y="36"/>
                          </a:lnTo>
                          <a:lnTo>
                            <a:pt x="69" y="36"/>
                          </a:lnTo>
                          <a:lnTo>
                            <a:pt x="62" y="29"/>
                          </a:lnTo>
                          <a:lnTo>
                            <a:pt x="62" y="29"/>
                          </a:lnTo>
                          <a:lnTo>
                            <a:pt x="62" y="29"/>
                          </a:lnTo>
                          <a:lnTo>
                            <a:pt x="62" y="29"/>
                          </a:lnTo>
                          <a:lnTo>
                            <a:pt x="40" y="26"/>
                          </a:lnTo>
                          <a:lnTo>
                            <a:pt x="40" y="26"/>
                          </a:lnTo>
                          <a:lnTo>
                            <a:pt x="40" y="24"/>
                          </a:lnTo>
                          <a:lnTo>
                            <a:pt x="40" y="24"/>
                          </a:lnTo>
                          <a:lnTo>
                            <a:pt x="40" y="24"/>
                          </a:lnTo>
                          <a:lnTo>
                            <a:pt x="40" y="24"/>
                          </a:lnTo>
                          <a:lnTo>
                            <a:pt x="38" y="24"/>
                          </a:lnTo>
                          <a:lnTo>
                            <a:pt x="38" y="24"/>
                          </a:lnTo>
                          <a:lnTo>
                            <a:pt x="33" y="22"/>
                          </a:lnTo>
                          <a:lnTo>
                            <a:pt x="33" y="22"/>
                          </a:lnTo>
                          <a:lnTo>
                            <a:pt x="33" y="22"/>
                          </a:lnTo>
                          <a:lnTo>
                            <a:pt x="33" y="22"/>
                          </a:lnTo>
                          <a:lnTo>
                            <a:pt x="31" y="24"/>
                          </a:lnTo>
                          <a:lnTo>
                            <a:pt x="31" y="24"/>
                          </a:lnTo>
                          <a:lnTo>
                            <a:pt x="31" y="24"/>
                          </a:lnTo>
                          <a:lnTo>
                            <a:pt x="31" y="24"/>
                          </a:lnTo>
                          <a:lnTo>
                            <a:pt x="22" y="24"/>
                          </a:lnTo>
                          <a:lnTo>
                            <a:pt x="22" y="24"/>
                          </a:lnTo>
                          <a:lnTo>
                            <a:pt x="22" y="22"/>
                          </a:lnTo>
                          <a:lnTo>
                            <a:pt x="22" y="22"/>
                          </a:lnTo>
                          <a:lnTo>
                            <a:pt x="22" y="19"/>
                          </a:lnTo>
                          <a:lnTo>
                            <a:pt x="22" y="19"/>
                          </a:lnTo>
                          <a:lnTo>
                            <a:pt x="22" y="19"/>
                          </a:lnTo>
                          <a:lnTo>
                            <a:pt x="22" y="19"/>
                          </a:lnTo>
                          <a:lnTo>
                            <a:pt x="10" y="17"/>
                          </a:lnTo>
                          <a:lnTo>
                            <a:pt x="10" y="17"/>
                          </a:lnTo>
                          <a:lnTo>
                            <a:pt x="0" y="15"/>
                          </a:lnTo>
                          <a:lnTo>
                            <a:pt x="0" y="15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3" y="0"/>
                          </a:lnTo>
                          <a:lnTo>
                            <a:pt x="3" y="0"/>
                          </a:lnTo>
                          <a:lnTo>
                            <a:pt x="5" y="3"/>
                          </a:lnTo>
                          <a:lnTo>
                            <a:pt x="5" y="3"/>
                          </a:lnTo>
                          <a:lnTo>
                            <a:pt x="10" y="3"/>
                          </a:lnTo>
                          <a:lnTo>
                            <a:pt x="10" y="3"/>
                          </a:lnTo>
                          <a:lnTo>
                            <a:pt x="22" y="8"/>
                          </a:lnTo>
                          <a:lnTo>
                            <a:pt x="22" y="8"/>
                          </a:lnTo>
                          <a:lnTo>
                            <a:pt x="33" y="8"/>
                          </a:lnTo>
                          <a:lnTo>
                            <a:pt x="33" y="8"/>
                          </a:lnTo>
                          <a:lnTo>
                            <a:pt x="36" y="8"/>
                          </a:lnTo>
                          <a:lnTo>
                            <a:pt x="36" y="8"/>
                          </a:lnTo>
                          <a:lnTo>
                            <a:pt x="38" y="5"/>
                          </a:lnTo>
                          <a:lnTo>
                            <a:pt x="38" y="5"/>
                          </a:lnTo>
                          <a:lnTo>
                            <a:pt x="40" y="3"/>
                          </a:lnTo>
                          <a:lnTo>
                            <a:pt x="40" y="3"/>
                          </a:lnTo>
                          <a:lnTo>
                            <a:pt x="43" y="3"/>
                          </a:lnTo>
                          <a:lnTo>
                            <a:pt x="43" y="3"/>
                          </a:lnTo>
                          <a:lnTo>
                            <a:pt x="43" y="3"/>
                          </a:lnTo>
                          <a:lnTo>
                            <a:pt x="43" y="3"/>
                          </a:lnTo>
                          <a:lnTo>
                            <a:pt x="48" y="3"/>
                          </a:lnTo>
                          <a:lnTo>
                            <a:pt x="48" y="3"/>
                          </a:lnTo>
                          <a:lnTo>
                            <a:pt x="50" y="5"/>
                          </a:lnTo>
                          <a:lnTo>
                            <a:pt x="50" y="5"/>
                          </a:lnTo>
                          <a:lnTo>
                            <a:pt x="52" y="8"/>
                          </a:lnTo>
                          <a:lnTo>
                            <a:pt x="52" y="8"/>
                          </a:lnTo>
                          <a:lnTo>
                            <a:pt x="57" y="19"/>
                          </a:lnTo>
                          <a:lnTo>
                            <a:pt x="57" y="19"/>
                          </a:lnTo>
                          <a:lnTo>
                            <a:pt x="62" y="24"/>
                          </a:lnTo>
                          <a:lnTo>
                            <a:pt x="62" y="24"/>
                          </a:lnTo>
                          <a:lnTo>
                            <a:pt x="62" y="24"/>
                          </a:lnTo>
                          <a:lnTo>
                            <a:pt x="62" y="24"/>
                          </a:lnTo>
                          <a:lnTo>
                            <a:pt x="66" y="26"/>
                          </a:lnTo>
                          <a:lnTo>
                            <a:pt x="66" y="26"/>
                          </a:lnTo>
                          <a:lnTo>
                            <a:pt x="69" y="29"/>
                          </a:lnTo>
                          <a:lnTo>
                            <a:pt x="69" y="29"/>
                          </a:lnTo>
                          <a:lnTo>
                            <a:pt x="69" y="26"/>
                          </a:lnTo>
                          <a:lnTo>
                            <a:pt x="69" y="26"/>
                          </a:lnTo>
                          <a:lnTo>
                            <a:pt x="69" y="26"/>
                          </a:lnTo>
                          <a:lnTo>
                            <a:pt x="69" y="26"/>
                          </a:lnTo>
                          <a:lnTo>
                            <a:pt x="71" y="24"/>
                          </a:lnTo>
                          <a:lnTo>
                            <a:pt x="71" y="24"/>
                          </a:lnTo>
                          <a:lnTo>
                            <a:pt x="71" y="24"/>
                          </a:lnTo>
                          <a:lnTo>
                            <a:pt x="71" y="24"/>
                          </a:lnTo>
                          <a:lnTo>
                            <a:pt x="76" y="24"/>
                          </a:lnTo>
                          <a:lnTo>
                            <a:pt x="76" y="24"/>
                          </a:lnTo>
                          <a:lnTo>
                            <a:pt x="78" y="26"/>
                          </a:lnTo>
                          <a:lnTo>
                            <a:pt x="78" y="26"/>
                          </a:lnTo>
                          <a:lnTo>
                            <a:pt x="83" y="29"/>
                          </a:lnTo>
                          <a:lnTo>
                            <a:pt x="83" y="29"/>
                          </a:lnTo>
                          <a:lnTo>
                            <a:pt x="90" y="34"/>
                          </a:lnTo>
                          <a:lnTo>
                            <a:pt x="90" y="34"/>
                          </a:lnTo>
                          <a:lnTo>
                            <a:pt x="90" y="36"/>
                          </a:lnTo>
                          <a:lnTo>
                            <a:pt x="90" y="36"/>
                          </a:lnTo>
                          <a:lnTo>
                            <a:pt x="90" y="36"/>
                          </a:lnTo>
                          <a:lnTo>
                            <a:pt x="90" y="36"/>
                          </a:lnTo>
                          <a:lnTo>
                            <a:pt x="90" y="45"/>
                          </a:lnTo>
                          <a:lnTo>
                            <a:pt x="90" y="45"/>
                          </a:lnTo>
                          <a:lnTo>
                            <a:pt x="90" y="50"/>
                          </a:lnTo>
                          <a:lnTo>
                            <a:pt x="90" y="50"/>
                          </a:lnTo>
                          <a:lnTo>
                            <a:pt x="97" y="55"/>
                          </a:lnTo>
                          <a:lnTo>
                            <a:pt x="97" y="55"/>
                          </a:lnTo>
                          <a:lnTo>
                            <a:pt x="97" y="55"/>
                          </a:lnTo>
                          <a:lnTo>
                            <a:pt x="97" y="55"/>
                          </a:lnTo>
                          <a:lnTo>
                            <a:pt x="99" y="52"/>
                          </a:lnTo>
                          <a:lnTo>
                            <a:pt x="99" y="52"/>
                          </a:lnTo>
                          <a:lnTo>
                            <a:pt x="99" y="52"/>
                          </a:lnTo>
                          <a:lnTo>
                            <a:pt x="99" y="52"/>
                          </a:lnTo>
                          <a:lnTo>
                            <a:pt x="99" y="52"/>
                          </a:lnTo>
                          <a:lnTo>
                            <a:pt x="99" y="52"/>
                          </a:lnTo>
                          <a:lnTo>
                            <a:pt x="99" y="48"/>
                          </a:lnTo>
                          <a:lnTo>
                            <a:pt x="99" y="48"/>
                          </a:lnTo>
                          <a:lnTo>
                            <a:pt x="99" y="48"/>
                          </a:lnTo>
                          <a:lnTo>
                            <a:pt x="99" y="48"/>
                          </a:lnTo>
                          <a:lnTo>
                            <a:pt x="104" y="50"/>
                          </a:lnTo>
                          <a:lnTo>
                            <a:pt x="104" y="50"/>
                          </a:lnTo>
                          <a:lnTo>
                            <a:pt x="104" y="52"/>
                          </a:lnTo>
                          <a:lnTo>
                            <a:pt x="104" y="52"/>
                          </a:lnTo>
                          <a:lnTo>
                            <a:pt x="107" y="55"/>
                          </a:lnTo>
                          <a:lnTo>
                            <a:pt x="107" y="55"/>
                          </a:lnTo>
                          <a:lnTo>
                            <a:pt x="104" y="57"/>
                          </a:lnTo>
                          <a:lnTo>
                            <a:pt x="104" y="57"/>
                          </a:lnTo>
                          <a:lnTo>
                            <a:pt x="104" y="57"/>
                          </a:lnTo>
                          <a:lnTo>
                            <a:pt x="104" y="57"/>
                          </a:lnTo>
                          <a:lnTo>
                            <a:pt x="102" y="57"/>
                          </a:lnTo>
                          <a:lnTo>
                            <a:pt x="102" y="57"/>
                          </a:lnTo>
                          <a:lnTo>
                            <a:pt x="102" y="60"/>
                          </a:lnTo>
                          <a:lnTo>
                            <a:pt x="102" y="60"/>
                          </a:lnTo>
                          <a:lnTo>
                            <a:pt x="102" y="62"/>
                          </a:lnTo>
                          <a:lnTo>
                            <a:pt x="102" y="62"/>
                          </a:lnTo>
                          <a:lnTo>
                            <a:pt x="104" y="62"/>
                          </a:lnTo>
                          <a:lnTo>
                            <a:pt x="104" y="62"/>
                          </a:lnTo>
                          <a:lnTo>
                            <a:pt x="109" y="64"/>
                          </a:lnTo>
                          <a:lnTo>
                            <a:pt x="109" y="64"/>
                          </a:lnTo>
                          <a:lnTo>
                            <a:pt x="109" y="62"/>
                          </a:lnTo>
                          <a:lnTo>
                            <a:pt x="109" y="62"/>
                          </a:lnTo>
                          <a:lnTo>
                            <a:pt x="114" y="64"/>
                          </a:lnTo>
                          <a:lnTo>
                            <a:pt x="114" y="64"/>
                          </a:lnTo>
                          <a:lnTo>
                            <a:pt x="118" y="67"/>
                          </a:lnTo>
                          <a:lnTo>
                            <a:pt x="118" y="67"/>
                          </a:lnTo>
                          <a:lnTo>
                            <a:pt x="116" y="71"/>
                          </a:lnTo>
                          <a:lnTo>
                            <a:pt x="116" y="71"/>
                          </a:lnTo>
                          <a:lnTo>
                            <a:pt x="116" y="71"/>
                          </a:lnTo>
                          <a:lnTo>
                            <a:pt x="116" y="71"/>
                          </a:lnTo>
                          <a:lnTo>
                            <a:pt x="118" y="76"/>
                          </a:lnTo>
                          <a:lnTo>
                            <a:pt x="118" y="76"/>
                          </a:lnTo>
                          <a:lnTo>
                            <a:pt x="121" y="76"/>
                          </a:lnTo>
                          <a:lnTo>
                            <a:pt x="121" y="76"/>
                          </a:lnTo>
                          <a:lnTo>
                            <a:pt x="123" y="76"/>
                          </a:lnTo>
                          <a:lnTo>
                            <a:pt x="123" y="76"/>
                          </a:lnTo>
                          <a:lnTo>
                            <a:pt x="123" y="76"/>
                          </a:lnTo>
                          <a:lnTo>
                            <a:pt x="123" y="76"/>
                          </a:lnTo>
                          <a:lnTo>
                            <a:pt x="123" y="76"/>
                          </a:lnTo>
                          <a:lnTo>
                            <a:pt x="123" y="76"/>
                          </a:lnTo>
                          <a:lnTo>
                            <a:pt x="123" y="74"/>
                          </a:lnTo>
                          <a:lnTo>
                            <a:pt x="123" y="74"/>
                          </a:lnTo>
                          <a:lnTo>
                            <a:pt x="123" y="74"/>
                          </a:lnTo>
                          <a:lnTo>
                            <a:pt x="123" y="74"/>
                          </a:lnTo>
                          <a:lnTo>
                            <a:pt x="123" y="74"/>
                          </a:lnTo>
                          <a:lnTo>
                            <a:pt x="123" y="74"/>
                          </a:lnTo>
                          <a:lnTo>
                            <a:pt x="125" y="78"/>
                          </a:lnTo>
                          <a:lnTo>
                            <a:pt x="125" y="78"/>
                          </a:lnTo>
                          <a:lnTo>
                            <a:pt x="125" y="83"/>
                          </a:lnTo>
                          <a:lnTo>
                            <a:pt x="125" y="83"/>
                          </a:lnTo>
                          <a:lnTo>
                            <a:pt x="123" y="86"/>
                          </a:lnTo>
                          <a:lnTo>
                            <a:pt x="123" y="86"/>
                          </a:lnTo>
                          <a:lnTo>
                            <a:pt x="121" y="90"/>
                          </a:lnTo>
                          <a:lnTo>
                            <a:pt x="121" y="90"/>
                          </a:lnTo>
                          <a:lnTo>
                            <a:pt x="121" y="90"/>
                          </a:lnTo>
                          <a:lnTo>
                            <a:pt x="121" y="90"/>
                          </a:lnTo>
                          <a:lnTo>
                            <a:pt x="121" y="90"/>
                          </a:lnTo>
                          <a:lnTo>
                            <a:pt x="121" y="90"/>
                          </a:lnTo>
                          <a:close/>
                        </a:path>
                      </a:pathLst>
                    </a:custGeom>
                    <a:solidFill>
                      <a:srgbClr val="0070C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61" name="Freeform 1184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906" y="1373"/>
                      <a:ext cx="24" cy="10"/>
                    </a:xfrm>
                    <a:custGeom>
                      <a:avLst/>
                      <a:gdLst/>
                      <a:ahLst/>
                      <a:cxnLst>
                        <a:cxn ang="0">
                          <a:pos x="14" y="9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3" y="2"/>
                        </a:cxn>
                        <a:cxn ang="0">
                          <a:pos x="3" y="2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7" y="4"/>
                        </a:cxn>
                        <a:cxn ang="0">
                          <a:pos x="7" y="4"/>
                        </a:cxn>
                        <a:cxn ang="0">
                          <a:pos x="7" y="4"/>
                        </a:cxn>
                        <a:cxn ang="0">
                          <a:pos x="7" y="4"/>
                        </a:cxn>
                        <a:cxn ang="0">
                          <a:pos x="12" y="4"/>
                        </a:cxn>
                        <a:cxn ang="0">
                          <a:pos x="12" y="4"/>
                        </a:cxn>
                        <a:cxn ang="0">
                          <a:pos x="12" y="2"/>
                        </a:cxn>
                        <a:cxn ang="0">
                          <a:pos x="12" y="2"/>
                        </a:cxn>
                        <a:cxn ang="0">
                          <a:pos x="19" y="4"/>
                        </a:cxn>
                        <a:cxn ang="0">
                          <a:pos x="19" y="4"/>
                        </a:cxn>
                        <a:cxn ang="0">
                          <a:pos x="21" y="7"/>
                        </a:cxn>
                        <a:cxn ang="0">
                          <a:pos x="21" y="7"/>
                        </a:cxn>
                        <a:cxn ang="0">
                          <a:pos x="21" y="7"/>
                        </a:cxn>
                        <a:cxn ang="0">
                          <a:pos x="21" y="7"/>
                        </a:cxn>
                        <a:cxn ang="0">
                          <a:pos x="14" y="9"/>
                        </a:cxn>
                        <a:cxn ang="0">
                          <a:pos x="14" y="9"/>
                        </a:cxn>
                        <a:cxn ang="0">
                          <a:pos x="14" y="9"/>
                        </a:cxn>
                        <a:cxn ang="0">
                          <a:pos x="14" y="9"/>
                        </a:cxn>
                      </a:cxnLst>
                      <a:rect l="0" t="0" r="r" b="b"/>
                      <a:pathLst>
                        <a:path w="21" h="9">
                          <a:moveTo>
                            <a:pt x="14" y="9"/>
                          </a:move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7" y="4"/>
                          </a:lnTo>
                          <a:lnTo>
                            <a:pt x="7" y="4"/>
                          </a:lnTo>
                          <a:lnTo>
                            <a:pt x="7" y="4"/>
                          </a:lnTo>
                          <a:lnTo>
                            <a:pt x="7" y="4"/>
                          </a:lnTo>
                          <a:lnTo>
                            <a:pt x="12" y="4"/>
                          </a:lnTo>
                          <a:lnTo>
                            <a:pt x="12" y="4"/>
                          </a:lnTo>
                          <a:lnTo>
                            <a:pt x="12" y="2"/>
                          </a:lnTo>
                          <a:lnTo>
                            <a:pt x="12" y="2"/>
                          </a:lnTo>
                          <a:lnTo>
                            <a:pt x="19" y="4"/>
                          </a:lnTo>
                          <a:lnTo>
                            <a:pt x="19" y="4"/>
                          </a:lnTo>
                          <a:lnTo>
                            <a:pt x="21" y="7"/>
                          </a:lnTo>
                          <a:lnTo>
                            <a:pt x="21" y="7"/>
                          </a:lnTo>
                          <a:lnTo>
                            <a:pt x="21" y="7"/>
                          </a:lnTo>
                          <a:lnTo>
                            <a:pt x="21" y="7"/>
                          </a:lnTo>
                          <a:lnTo>
                            <a:pt x="14" y="9"/>
                          </a:lnTo>
                          <a:lnTo>
                            <a:pt x="14" y="9"/>
                          </a:lnTo>
                          <a:lnTo>
                            <a:pt x="14" y="9"/>
                          </a:lnTo>
                          <a:lnTo>
                            <a:pt x="14" y="9"/>
                          </a:lnTo>
                          <a:close/>
                        </a:path>
                      </a:pathLst>
                    </a:custGeom>
                    <a:solidFill>
                      <a:srgbClr val="0070C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62" name="Freeform 1185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077" y="1418"/>
                      <a:ext cx="22" cy="30"/>
                    </a:xfrm>
                    <a:custGeom>
                      <a:avLst/>
                      <a:gdLst/>
                      <a:ahLst/>
                      <a:cxnLst>
                        <a:cxn ang="0">
                          <a:pos x="15" y="23"/>
                        </a:cxn>
                        <a:cxn ang="0">
                          <a:pos x="10" y="21"/>
                        </a:cxn>
                        <a:cxn ang="0">
                          <a:pos x="10" y="19"/>
                        </a:cxn>
                        <a:cxn ang="0">
                          <a:pos x="10" y="14"/>
                        </a:cxn>
                        <a:cxn ang="0">
                          <a:pos x="10" y="14"/>
                        </a:cxn>
                        <a:cxn ang="0">
                          <a:pos x="10" y="14"/>
                        </a:cxn>
                        <a:cxn ang="0">
                          <a:pos x="10" y="14"/>
                        </a:cxn>
                        <a:cxn ang="0">
                          <a:pos x="7" y="14"/>
                        </a:cxn>
                        <a:cxn ang="0">
                          <a:pos x="5" y="9"/>
                        </a:cxn>
                        <a:cxn ang="0">
                          <a:pos x="7" y="9"/>
                        </a:cxn>
                        <a:cxn ang="0">
                          <a:pos x="7" y="9"/>
                        </a:cxn>
                        <a:cxn ang="0">
                          <a:pos x="7" y="9"/>
                        </a:cxn>
                        <a:cxn ang="0">
                          <a:pos x="7" y="9"/>
                        </a:cxn>
                        <a:cxn ang="0">
                          <a:pos x="7" y="9"/>
                        </a:cxn>
                        <a:cxn ang="0">
                          <a:pos x="5" y="7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3" y="2"/>
                        </a:cxn>
                        <a:cxn ang="0">
                          <a:pos x="3" y="2"/>
                        </a:cxn>
                        <a:cxn ang="0">
                          <a:pos x="3" y="2"/>
                        </a:cxn>
                        <a:cxn ang="0">
                          <a:pos x="3" y="2"/>
                        </a:cxn>
                        <a:cxn ang="0">
                          <a:pos x="3" y="2"/>
                        </a:cxn>
                        <a:cxn ang="0">
                          <a:pos x="3" y="2"/>
                        </a:cxn>
                        <a:cxn ang="0">
                          <a:pos x="3" y="2"/>
                        </a:cxn>
                        <a:cxn ang="0">
                          <a:pos x="0" y="2"/>
                        </a:cxn>
                        <a:cxn ang="0">
                          <a:pos x="0" y="0"/>
                        </a:cxn>
                        <a:cxn ang="0">
                          <a:pos x="3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7" y="7"/>
                        </a:cxn>
                        <a:cxn ang="0">
                          <a:pos x="10" y="12"/>
                        </a:cxn>
                        <a:cxn ang="0">
                          <a:pos x="10" y="12"/>
                        </a:cxn>
                        <a:cxn ang="0">
                          <a:pos x="15" y="21"/>
                        </a:cxn>
                        <a:cxn ang="0">
                          <a:pos x="15" y="21"/>
                        </a:cxn>
                        <a:cxn ang="0">
                          <a:pos x="15" y="21"/>
                        </a:cxn>
                        <a:cxn ang="0">
                          <a:pos x="17" y="23"/>
                        </a:cxn>
                        <a:cxn ang="0">
                          <a:pos x="17" y="23"/>
                        </a:cxn>
                        <a:cxn ang="0">
                          <a:pos x="19" y="26"/>
                        </a:cxn>
                        <a:cxn ang="0">
                          <a:pos x="19" y="26"/>
                        </a:cxn>
                        <a:cxn ang="0">
                          <a:pos x="19" y="26"/>
                        </a:cxn>
                        <a:cxn ang="0">
                          <a:pos x="19" y="26"/>
                        </a:cxn>
                        <a:cxn ang="0">
                          <a:pos x="19" y="26"/>
                        </a:cxn>
                        <a:cxn ang="0">
                          <a:pos x="17" y="26"/>
                        </a:cxn>
                        <a:cxn ang="0">
                          <a:pos x="17" y="26"/>
                        </a:cxn>
                      </a:cxnLst>
                      <a:rect l="0" t="0" r="r" b="b"/>
                      <a:pathLst>
                        <a:path w="19" h="26">
                          <a:moveTo>
                            <a:pt x="17" y="26"/>
                          </a:moveTo>
                          <a:lnTo>
                            <a:pt x="15" y="23"/>
                          </a:lnTo>
                          <a:lnTo>
                            <a:pt x="15" y="23"/>
                          </a:lnTo>
                          <a:lnTo>
                            <a:pt x="10" y="21"/>
                          </a:lnTo>
                          <a:lnTo>
                            <a:pt x="10" y="21"/>
                          </a:lnTo>
                          <a:lnTo>
                            <a:pt x="10" y="19"/>
                          </a:lnTo>
                          <a:lnTo>
                            <a:pt x="10" y="19"/>
                          </a:lnTo>
                          <a:lnTo>
                            <a:pt x="10" y="14"/>
                          </a:lnTo>
                          <a:lnTo>
                            <a:pt x="10" y="14"/>
                          </a:lnTo>
                          <a:lnTo>
                            <a:pt x="10" y="14"/>
                          </a:lnTo>
                          <a:lnTo>
                            <a:pt x="10" y="14"/>
                          </a:lnTo>
                          <a:lnTo>
                            <a:pt x="10" y="14"/>
                          </a:lnTo>
                          <a:lnTo>
                            <a:pt x="10" y="14"/>
                          </a:lnTo>
                          <a:lnTo>
                            <a:pt x="10" y="14"/>
                          </a:lnTo>
                          <a:lnTo>
                            <a:pt x="10" y="14"/>
                          </a:lnTo>
                          <a:lnTo>
                            <a:pt x="7" y="14"/>
                          </a:lnTo>
                          <a:lnTo>
                            <a:pt x="7" y="14"/>
                          </a:lnTo>
                          <a:lnTo>
                            <a:pt x="5" y="9"/>
                          </a:lnTo>
                          <a:lnTo>
                            <a:pt x="5" y="9"/>
                          </a:lnTo>
                          <a:lnTo>
                            <a:pt x="7" y="9"/>
                          </a:lnTo>
                          <a:lnTo>
                            <a:pt x="7" y="9"/>
                          </a:lnTo>
                          <a:lnTo>
                            <a:pt x="7" y="9"/>
                          </a:lnTo>
                          <a:lnTo>
                            <a:pt x="7" y="9"/>
                          </a:lnTo>
                          <a:lnTo>
                            <a:pt x="7" y="9"/>
                          </a:lnTo>
                          <a:lnTo>
                            <a:pt x="7" y="9"/>
                          </a:lnTo>
                          <a:lnTo>
                            <a:pt x="7" y="9"/>
                          </a:lnTo>
                          <a:lnTo>
                            <a:pt x="7" y="9"/>
                          </a:lnTo>
                          <a:lnTo>
                            <a:pt x="7" y="9"/>
                          </a:lnTo>
                          <a:lnTo>
                            <a:pt x="7" y="9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3" y="0"/>
                          </a:lnTo>
                          <a:lnTo>
                            <a:pt x="3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10" y="12"/>
                          </a:lnTo>
                          <a:lnTo>
                            <a:pt x="10" y="12"/>
                          </a:lnTo>
                          <a:lnTo>
                            <a:pt x="10" y="12"/>
                          </a:lnTo>
                          <a:lnTo>
                            <a:pt x="10" y="12"/>
                          </a:lnTo>
                          <a:lnTo>
                            <a:pt x="15" y="21"/>
                          </a:lnTo>
                          <a:lnTo>
                            <a:pt x="15" y="21"/>
                          </a:lnTo>
                          <a:lnTo>
                            <a:pt x="15" y="21"/>
                          </a:lnTo>
                          <a:lnTo>
                            <a:pt x="15" y="21"/>
                          </a:lnTo>
                          <a:lnTo>
                            <a:pt x="15" y="21"/>
                          </a:lnTo>
                          <a:lnTo>
                            <a:pt x="15" y="21"/>
                          </a:lnTo>
                          <a:lnTo>
                            <a:pt x="17" y="23"/>
                          </a:lnTo>
                          <a:lnTo>
                            <a:pt x="17" y="23"/>
                          </a:lnTo>
                          <a:lnTo>
                            <a:pt x="17" y="23"/>
                          </a:lnTo>
                          <a:lnTo>
                            <a:pt x="17" y="23"/>
                          </a:lnTo>
                          <a:lnTo>
                            <a:pt x="19" y="26"/>
                          </a:lnTo>
                          <a:lnTo>
                            <a:pt x="19" y="26"/>
                          </a:lnTo>
                          <a:lnTo>
                            <a:pt x="19" y="26"/>
                          </a:lnTo>
                          <a:lnTo>
                            <a:pt x="19" y="26"/>
                          </a:lnTo>
                          <a:lnTo>
                            <a:pt x="19" y="26"/>
                          </a:lnTo>
                          <a:lnTo>
                            <a:pt x="19" y="26"/>
                          </a:lnTo>
                          <a:lnTo>
                            <a:pt x="19" y="26"/>
                          </a:lnTo>
                          <a:lnTo>
                            <a:pt x="19" y="26"/>
                          </a:lnTo>
                          <a:lnTo>
                            <a:pt x="19" y="26"/>
                          </a:lnTo>
                          <a:lnTo>
                            <a:pt x="19" y="26"/>
                          </a:lnTo>
                          <a:lnTo>
                            <a:pt x="17" y="26"/>
                          </a:lnTo>
                          <a:lnTo>
                            <a:pt x="17" y="26"/>
                          </a:lnTo>
                          <a:lnTo>
                            <a:pt x="17" y="26"/>
                          </a:lnTo>
                          <a:lnTo>
                            <a:pt x="17" y="26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63" name="Freeform 1186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468" y="1466"/>
                      <a:ext cx="8" cy="11"/>
                    </a:xfrm>
                    <a:custGeom>
                      <a:avLst/>
                      <a:gdLst/>
                      <a:ahLst/>
                      <a:cxnLst>
                        <a:cxn ang="0">
                          <a:pos x="5" y="10"/>
                        </a:cxn>
                        <a:cxn ang="0">
                          <a:pos x="5" y="10"/>
                        </a:cxn>
                        <a:cxn ang="0">
                          <a:pos x="5" y="10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3" y="0"/>
                        </a:cxn>
                        <a:cxn ang="0">
                          <a:pos x="3" y="0"/>
                        </a:cxn>
                        <a:cxn ang="0">
                          <a:pos x="5" y="3"/>
                        </a:cxn>
                        <a:cxn ang="0">
                          <a:pos x="5" y="3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10"/>
                        </a:cxn>
                        <a:cxn ang="0">
                          <a:pos x="7" y="10"/>
                        </a:cxn>
                        <a:cxn ang="0">
                          <a:pos x="5" y="10"/>
                        </a:cxn>
                        <a:cxn ang="0">
                          <a:pos x="5" y="10"/>
                        </a:cxn>
                        <a:cxn ang="0">
                          <a:pos x="5" y="10"/>
                        </a:cxn>
                        <a:cxn ang="0">
                          <a:pos x="5" y="10"/>
                        </a:cxn>
                      </a:cxnLst>
                      <a:rect l="0" t="0" r="r" b="b"/>
                      <a:pathLst>
                        <a:path w="7" h="10">
                          <a:moveTo>
                            <a:pt x="5" y="10"/>
                          </a:moveTo>
                          <a:lnTo>
                            <a:pt x="5" y="10"/>
                          </a:lnTo>
                          <a:lnTo>
                            <a:pt x="5" y="10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3" y="0"/>
                          </a:lnTo>
                          <a:lnTo>
                            <a:pt x="3" y="0"/>
                          </a:lnTo>
                          <a:lnTo>
                            <a:pt x="5" y="3"/>
                          </a:lnTo>
                          <a:lnTo>
                            <a:pt x="5" y="3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10"/>
                          </a:lnTo>
                          <a:lnTo>
                            <a:pt x="7" y="10"/>
                          </a:lnTo>
                          <a:lnTo>
                            <a:pt x="5" y="10"/>
                          </a:lnTo>
                          <a:lnTo>
                            <a:pt x="5" y="10"/>
                          </a:lnTo>
                          <a:lnTo>
                            <a:pt x="5" y="10"/>
                          </a:lnTo>
                          <a:lnTo>
                            <a:pt x="5" y="10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64" name="Freeform 1187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489" y="1466"/>
                      <a:ext cx="28" cy="14"/>
                    </a:xfrm>
                    <a:custGeom>
                      <a:avLst/>
                      <a:gdLst/>
                      <a:ahLst/>
                      <a:cxnLst>
                        <a:cxn ang="0">
                          <a:pos x="7" y="10"/>
                        </a:cxn>
                        <a:cxn ang="0">
                          <a:pos x="7" y="7"/>
                        </a:cxn>
                        <a:cxn ang="0">
                          <a:pos x="5" y="7"/>
                        </a:cxn>
                        <a:cxn ang="0">
                          <a:pos x="5" y="5"/>
                        </a:cxn>
                        <a:cxn ang="0">
                          <a:pos x="2" y="5"/>
                        </a:cxn>
                        <a:cxn ang="0">
                          <a:pos x="2" y="5"/>
                        </a:cxn>
                        <a:cxn ang="0">
                          <a:pos x="2" y="3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2" y="0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10" y="10"/>
                        </a:cxn>
                        <a:cxn ang="0">
                          <a:pos x="12" y="10"/>
                        </a:cxn>
                        <a:cxn ang="0">
                          <a:pos x="12" y="10"/>
                        </a:cxn>
                        <a:cxn ang="0">
                          <a:pos x="12" y="10"/>
                        </a:cxn>
                        <a:cxn ang="0">
                          <a:pos x="14" y="10"/>
                        </a:cxn>
                        <a:cxn ang="0">
                          <a:pos x="14" y="10"/>
                        </a:cxn>
                        <a:cxn ang="0">
                          <a:pos x="14" y="10"/>
                        </a:cxn>
                        <a:cxn ang="0">
                          <a:pos x="14" y="10"/>
                        </a:cxn>
                        <a:cxn ang="0">
                          <a:pos x="17" y="5"/>
                        </a:cxn>
                        <a:cxn ang="0">
                          <a:pos x="17" y="3"/>
                        </a:cxn>
                        <a:cxn ang="0">
                          <a:pos x="17" y="5"/>
                        </a:cxn>
                        <a:cxn ang="0">
                          <a:pos x="17" y="7"/>
                        </a:cxn>
                        <a:cxn ang="0">
                          <a:pos x="17" y="7"/>
                        </a:cxn>
                        <a:cxn ang="0">
                          <a:pos x="17" y="10"/>
                        </a:cxn>
                        <a:cxn ang="0">
                          <a:pos x="17" y="10"/>
                        </a:cxn>
                        <a:cxn ang="0">
                          <a:pos x="19" y="10"/>
                        </a:cxn>
                        <a:cxn ang="0">
                          <a:pos x="19" y="10"/>
                        </a:cxn>
                        <a:cxn ang="0">
                          <a:pos x="19" y="10"/>
                        </a:cxn>
                        <a:cxn ang="0">
                          <a:pos x="19" y="10"/>
                        </a:cxn>
                        <a:cxn ang="0">
                          <a:pos x="19" y="10"/>
                        </a:cxn>
                        <a:cxn ang="0">
                          <a:pos x="19" y="10"/>
                        </a:cxn>
                        <a:cxn ang="0">
                          <a:pos x="21" y="10"/>
                        </a:cxn>
                        <a:cxn ang="0">
                          <a:pos x="24" y="10"/>
                        </a:cxn>
                        <a:cxn ang="0">
                          <a:pos x="21" y="10"/>
                        </a:cxn>
                        <a:cxn ang="0">
                          <a:pos x="17" y="12"/>
                        </a:cxn>
                        <a:cxn ang="0">
                          <a:pos x="17" y="12"/>
                        </a:cxn>
                        <a:cxn ang="0">
                          <a:pos x="17" y="12"/>
                        </a:cxn>
                        <a:cxn ang="0">
                          <a:pos x="14" y="10"/>
                        </a:cxn>
                        <a:cxn ang="0">
                          <a:pos x="14" y="10"/>
                        </a:cxn>
                        <a:cxn ang="0">
                          <a:pos x="14" y="10"/>
                        </a:cxn>
                        <a:cxn ang="0">
                          <a:pos x="14" y="10"/>
                        </a:cxn>
                        <a:cxn ang="0">
                          <a:pos x="14" y="10"/>
                        </a:cxn>
                        <a:cxn ang="0">
                          <a:pos x="12" y="12"/>
                        </a:cxn>
                        <a:cxn ang="0">
                          <a:pos x="12" y="12"/>
                        </a:cxn>
                        <a:cxn ang="0">
                          <a:pos x="10" y="12"/>
                        </a:cxn>
                        <a:cxn ang="0">
                          <a:pos x="10" y="12"/>
                        </a:cxn>
                      </a:cxnLst>
                      <a:rect l="0" t="0" r="r" b="b"/>
                      <a:pathLst>
                        <a:path w="24" h="12">
                          <a:moveTo>
                            <a:pt x="10" y="12"/>
                          </a:moveTo>
                          <a:lnTo>
                            <a:pt x="7" y="10"/>
                          </a:lnTo>
                          <a:lnTo>
                            <a:pt x="7" y="10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2" y="3"/>
                          </a:lnTo>
                          <a:lnTo>
                            <a:pt x="2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10" y="10"/>
                          </a:lnTo>
                          <a:lnTo>
                            <a:pt x="10" y="10"/>
                          </a:lnTo>
                          <a:lnTo>
                            <a:pt x="12" y="10"/>
                          </a:lnTo>
                          <a:lnTo>
                            <a:pt x="12" y="10"/>
                          </a:lnTo>
                          <a:lnTo>
                            <a:pt x="12" y="10"/>
                          </a:lnTo>
                          <a:lnTo>
                            <a:pt x="12" y="10"/>
                          </a:lnTo>
                          <a:lnTo>
                            <a:pt x="12" y="10"/>
                          </a:lnTo>
                          <a:lnTo>
                            <a:pt x="12" y="10"/>
                          </a:lnTo>
                          <a:lnTo>
                            <a:pt x="14" y="10"/>
                          </a:lnTo>
                          <a:lnTo>
                            <a:pt x="14" y="10"/>
                          </a:lnTo>
                          <a:lnTo>
                            <a:pt x="14" y="10"/>
                          </a:lnTo>
                          <a:lnTo>
                            <a:pt x="14" y="10"/>
                          </a:lnTo>
                          <a:lnTo>
                            <a:pt x="14" y="10"/>
                          </a:lnTo>
                          <a:lnTo>
                            <a:pt x="14" y="10"/>
                          </a:lnTo>
                          <a:lnTo>
                            <a:pt x="14" y="10"/>
                          </a:lnTo>
                          <a:lnTo>
                            <a:pt x="14" y="10"/>
                          </a:lnTo>
                          <a:lnTo>
                            <a:pt x="17" y="5"/>
                          </a:lnTo>
                          <a:lnTo>
                            <a:pt x="17" y="5"/>
                          </a:lnTo>
                          <a:lnTo>
                            <a:pt x="17" y="3"/>
                          </a:lnTo>
                          <a:lnTo>
                            <a:pt x="17" y="3"/>
                          </a:lnTo>
                          <a:lnTo>
                            <a:pt x="17" y="5"/>
                          </a:lnTo>
                          <a:lnTo>
                            <a:pt x="17" y="5"/>
                          </a:lnTo>
                          <a:lnTo>
                            <a:pt x="17" y="7"/>
                          </a:lnTo>
                          <a:lnTo>
                            <a:pt x="17" y="7"/>
                          </a:lnTo>
                          <a:lnTo>
                            <a:pt x="17" y="7"/>
                          </a:lnTo>
                          <a:lnTo>
                            <a:pt x="17" y="7"/>
                          </a:lnTo>
                          <a:lnTo>
                            <a:pt x="17" y="10"/>
                          </a:lnTo>
                          <a:lnTo>
                            <a:pt x="17" y="10"/>
                          </a:lnTo>
                          <a:lnTo>
                            <a:pt x="17" y="10"/>
                          </a:lnTo>
                          <a:lnTo>
                            <a:pt x="17" y="10"/>
                          </a:lnTo>
                          <a:lnTo>
                            <a:pt x="19" y="10"/>
                          </a:lnTo>
                          <a:lnTo>
                            <a:pt x="19" y="10"/>
                          </a:lnTo>
                          <a:lnTo>
                            <a:pt x="19" y="10"/>
                          </a:lnTo>
                          <a:lnTo>
                            <a:pt x="19" y="10"/>
                          </a:lnTo>
                          <a:lnTo>
                            <a:pt x="19" y="10"/>
                          </a:lnTo>
                          <a:lnTo>
                            <a:pt x="19" y="10"/>
                          </a:lnTo>
                          <a:lnTo>
                            <a:pt x="19" y="10"/>
                          </a:lnTo>
                          <a:lnTo>
                            <a:pt x="19" y="10"/>
                          </a:lnTo>
                          <a:lnTo>
                            <a:pt x="19" y="10"/>
                          </a:lnTo>
                          <a:lnTo>
                            <a:pt x="19" y="10"/>
                          </a:lnTo>
                          <a:lnTo>
                            <a:pt x="19" y="10"/>
                          </a:lnTo>
                          <a:lnTo>
                            <a:pt x="19" y="10"/>
                          </a:lnTo>
                          <a:lnTo>
                            <a:pt x="21" y="10"/>
                          </a:lnTo>
                          <a:lnTo>
                            <a:pt x="21" y="10"/>
                          </a:lnTo>
                          <a:lnTo>
                            <a:pt x="24" y="10"/>
                          </a:lnTo>
                          <a:lnTo>
                            <a:pt x="24" y="10"/>
                          </a:lnTo>
                          <a:lnTo>
                            <a:pt x="21" y="10"/>
                          </a:lnTo>
                          <a:lnTo>
                            <a:pt x="21" y="10"/>
                          </a:lnTo>
                          <a:lnTo>
                            <a:pt x="17" y="12"/>
                          </a:lnTo>
                          <a:lnTo>
                            <a:pt x="17" y="12"/>
                          </a:lnTo>
                          <a:lnTo>
                            <a:pt x="17" y="12"/>
                          </a:lnTo>
                          <a:lnTo>
                            <a:pt x="17" y="12"/>
                          </a:lnTo>
                          <a:lnTo>
                            <a:pt x="17" y="12"/>
                          </a:lnTo>
                          <a:lnTo>
                            <a:pt x="17" y="12"/>
                          </a:lnTo>
                          <a:lnTo>
                            <a:pt x="14" y="10"/>
                          </a:lnTo>
                          <a:lnTo>
                            <a:pt x="14" y="10"/>
                          </a:lnTo>
                          <a:lnTo>
                            <a:pt x="14" y="10"/>
                          </a:lnTo>
                          <a:lnTo>
                            <a:pt x="14" y="10"/>
                          </a:lnTo>
                          <a:lnTo>
                            <a:pt x="14" y="10"/>
                          </a:lnTo>
                          <a:lnTo>
                            <a:pt x="14" y="10"/>
                          </a:lnTo>
                          <a:lnTo>
                            <a:pt x="14" y="10"/>
                          </a:lnTo>
                          <a:lnTo>
                            <a:pt x="14" y="10"/>
                          </a:lnTo>
                          <a:lnTo>
                            <a:pt x="14" y="10"/>
                          </a:lnTo>
                          <a:lnTo>
                            <a:pt x="14" y="10"/>
                          </a:lnTo>
                          <a:lnTo>
                            <a:pt x="12" y="12"/>
                          </a:lnTo>
                          <a:lnTo>
                            <a:pt x="12" y="12"/>
                          </a:lnTo>
                          <a:lnTo>
                            <a:pt x="12" y="12"/>
                          </a:lnTo>
                          <a:lnTo>
                            <a:pt x="12" y="12"/>
                          </a:lnTo>
                          <a:lnTo>
                            <a:pt x="10" y="12"/>
                          </a:lnTo>
                          <a:lnTo>
                            <a:pt x="10" y="12"/>
                          </a:lnTo>
                          <a:lnTo>
                            <a:pt x="10" y="12"/>
                          </a:lnTo>
                          <a:lnTo>
                            <a:pt x="10" y="12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65" name="Freeform 1188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124" y="1501"/>
                      <a:ext cx="26" cy="30"/>
                    </a:xfrm>
                    <a:custGeom>
                      <a:avLst/>
                      <a:gdLst/>
                      <a:ahLst/>
                      <a:cxnLst>
                        <a:cxn ang="0">
                          <a:pos x="16" y="24"/>
                        </a:cxn>
                        <a:cxn ang="0">
                          <a:pos x="7" y="19"/>
                        </a:cxn>
                        <a:cxn ang="0">
                          <a:pos x="7" y="19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4" y="0"/>
                        </a:cxn>
                        <a:cxn ang="0">
                          <a:pos x="4" y="0"/>
                        </a:cxn>
                        <a:cxn ang="0">
                          <a:pos x="4" y="0"/>
                        </a:cxn>
                        <a:cxn ang="0">
                          <a:pos x="4" y="0"/>
                        </a:cxn>
                        <a:cxn ang="0">
                          <a:pos x="9" y="2"/>
                        </a:cxn>
                        <a:cxn ang="0">
                          <a:pos x="9" y="2"/>
                        </a:cxn>
                        <a:cxn ang="0">
                          <a:pos x="11" y="7"/>
                        </a:cxn>
                        <a:cxn ang="0">
                          <a:pos x="11" y="7"/>
                        </a:cxn>
                        <a:cxn ang="0">
                          <a:pos x="14" y="12"/>
                        </a:cxn>
                        <a:cxn ang="0">
                          <a:pos x="14" y="12"/>
                        </a:cxn>
                        <a:cxn ang="0">
                          <a:pos x="23" y="21"/>
                        </a:cxn>
                        <a:cxn ang="0">
                          <a:pos x="23" y="21"/>
                        </a:cxn>
                        <a:cxn ang="0">
                          <a:pos x="21" y="24"/>
                        </a:cxn>
                        <a:cxn ang="0">
                          <a:pos x="21" y="24"/>
                        </a:cxn>
                        <a:cxn ang="0">
                          <a:pos x="18" y="26"/>
                        </a:cxn>
                        <a:cxn ang="0">
                          <a:pos x="18" y="26"/>
                        </a:cxn>
                        <a:cxn ang="0">
                          <a:pos x="16" y="24"/>
                        </a:cxn>
                        <a:cxn ang="0">
                          <a:pos x="16" y="24"/>
                        </a:cxn>
                        <a:cxn ang="0">
                          <a:pos x="16" y="24"/>
                        </a:cxn>
                        <a:cxn ang="0">
                          <a:pos x="16" y="24"/>
                        </a:cxn>
                      </a:cxnLst>
                      <a:rect l="0" t="0" r="r" b="b"/>
                      <a:pathLst>
                        <a:path w="23" h="26">
                          <a:moveTo>
                            <a:pt x="16" y="24"/>
                          </a:moveTo>
                          <a:lnTo>
                            <a:pt x="7" y="19"/>
                          </a:lnTo>
                          <a:lnTo>
                            <a:pt x="7" y="19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4" y="0"/>
                          </a:lnTo>
                          <a:lnTo>
                            <a:pt x="4" y="0"/>
                          </a:lnTo>
                          <a:lnTo>
                            <a:pt x="4" y="0"/>
                          </a:lnTo>
                          <a:lnTo>
                            <a:pt x="4" y="0"/>
                          </a:lnTo>
                          <a:lnTo>
                            <a:pt x="9" y="2"/>
                          </a:lnTo>
                          <a:lnTo>
                            <a:pt x="9" y="2"/>
                          </a:lnTo>
                          <a:lnTo>
                            <a:pt x="11" y="7"/>
                          </a:lnTo>
                          <a:lnTo>
                            <a:pt x="11" y="7"/>
                          </a:lnTo>
                          <a:lnTo>
                            <a:pt x="14" y="12"/>
                          </a:lnTo>
                          <a:lnTo>
                            <a:pt x="14" y="12"/>
                          </a:lnTo>
                          <a:lnTo>
                            <a:pt x="23" y="21"/>
                          </a:lnTo>
                          <a:lnTo>
                            <a:pt x="23" y="21"/>
                          </a:lnTo>
                          <a:lnTo>
                            <a:pt x="21" y="24"/>
                          </a:lnTo>
                          <a:lnTo>
                            <a:pt x="21" y="24"/>
                          </a:lnTo>
                          <a:lnTo>
                            <a:pt x="18" y="26"/>
                          </a:lnTo>
                          <a:lnTo>
                            <a:pt x="18" y="26"/>
                          </a:lnTo>
                          <a:lnTo>
                            <a:pt x="16" y="24"/>
                          </a:lnTo>
                          <a:lnTo>
                            <a:pt x="16" y="24"/>
                          </a:lnTo>
                          <a:lnTo>
                            <a:pt x="16" y="24"/>
                          </a:lnTo>
                          <a:lnTo>
                            <a:pt x="16" y="24"/>
                          </a:lnTo>
                          <a:close/>
                        </a:path>
                      </a:pathLst>
                    </a:custGeom>
                    <a:solidFill>
                      <a:srgbClr val="0070C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66" name="Freeform 1189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2150" y="1525"/>
                      <a:ext cx="54" cy="57"/>
                    </a:xfrm>
                    <a:custGeom>
                      <a:avLst/>
                      <a:gdLst/>
                      <a:ahLst/>
                      <a:cxnLst>
                        <a:cxn ang="0">
                          <a:pos x="40" y="50"/>
                        </a:cxn>
                        <a:cxn ang="0">
                          <a:pos x="38" y="47"/>
                        </a:cxn>
                        <a:cxn ang="0">
                          <a:pos x="38" y="47"/>
                        </a:cxn>
                        <a:cxn ang="0">
                          <a:pos x="36" y="45"/>
                        </a:cxn>
                        <a:cxn ang="0">
                          <a:pos x="36" y="45"/>
                        </a:cxn>
                        <a:cxn ang="0">
                          <a:pos x="24" y="38"/>
                        </a:cxn>
                        <a:cxn ang="0">
                          <a:pos x="24" y="38"/>
                        </a:cxn>
                        <a:cxn ang="0">
                          <a:pos x="17" y="36"/>
                        </a:cxn>
                        <a:cxn ang="0">
                          <a:pos x="17" y="36"/>
                        </a:cxn>
                        <a:cxn ang="0">
                          <a:pos x="12" y="24"/>
                        </a:cxn>
                        <a:cxn ang="0">
                          <a:pos x="12" y="24"/>
                        </a:cxn>
                        <a:cxn ang="0">
                          <a:pos x="7" y="14"/>
                        </a:cxn>
                        <a:cxn ang="0">
                          <a:pos x="7" y="14"/>
                        </a:cxn>
                        <a:cxn ang="0">
                          <a:pos x="0" y="10"/>
                        </a:cxn>
                        <a:cxn ang="0">
                          <a:pos x="0" y="10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12" y="10"/>
                        </a:cxn>
                        <a:cxn ang="0">
                          <a:pos x="12" y="10"/>
                        </a:cxn>
                        <a:cxn ang="0">
                          <a:pos x="26" y="19"/>
                        </a:cxn>
                        <a:cxn ang="0">
                          <a:pos x="26" y="19"/>
                        </a:cxn>
                        <a:cxn ang="0">
                          <a:pos x="38" y="31"/>
                        </a:cxn>
                        <a:cxn ang="0">
                          <a:pos x="38" y="31"/>
                        </a:cxn>
                        <a:cxn ang="0">
                          <a:pos x="43" y="33"/>
                        </a:cxn>
                        <a:cxn ang="0">
                          <a:pos x="43" y="33"/>
                        </a:cxn>
                        <a:cxn ang="0">
                          <a:pos x="47" y="40"/>
                        </a:cxn>
                        <a:cxn ang="0">
                          <a:pos x="47" y="40"/>
                        </a:cxn>
                        <a:cxn ang="0">
                          <a:pos x="45" y="45"/>
                        </a:cxn>
                        <a:cxn ang="0">
                          <a:pos x="45" y="45"/>
                        </a:cxn>
                        <a:cxn ang="0">
                          <a:pos x="40" y="50"/>
                        </a:cxn>
                        <a:cxn ang="0">
                          <a:pos x="40" y="50"/>
                        </a:cxn>
                        <a:cxn ang="0">
                          <a:pos x="40" y="50"/>
                        </a:cxn>
                        <a:cxn ang="0">
                          <a:pos x="40" y="50"/>
                        </a:cxn>
                        <a:cxn ang="0">
                          <a:pos x="40" y="50"/>
                        </a:cxn>
                        <a:cxn ang="0">
                          <a:pos x="40" y="50"/>
                        </a:cxn>
                      </a:cxnLst>
                      <a:rect l="0" t="0" r="r" b="b"/>
                      <a:pathLst>
                        <a:path w="47" h="50">
                          <a:moveTo>
                            <a:pt x="40" y="50"/>
                          </a:moveTo>
                          <a:lnTo>
                            <a:pt x="38" y="47"/>
                          </a:lnTo>
                          <a:lnTo>
                            <a:pt x="38" y="47"/>
                          </a:lnTo>
                          <a:lnTo>
                            <a:pt x="36" y="45"/>
                          </a:lnTo>
                          <a:lnTo>
                            <a:pt x="36" y="45"/>
                          </a:lnTo>
                          <a:lnTo>
                            <a:pt x="24" y="38"/>
                          </a:lnTo>
                          <a:lnTo>
                            <a:pt x="24" y="38"/>
                          </a:lnTo>
                          <a:lnTo>
                            <a:pt x="17" y="36"/>
                          </a:lnTo>
                          <a:lnTo>
                            <a:pt x="17" y="36"/>
                          </a:lnTo>
                          <a:lnTo>
                            <a:pt x="12" y="24"/>
                          </a:lnTo>
                          <a:lnTo>
                            <a:pt x="12" y="24"/>
                          </a:lnTo>
                          <a:lnTo>
                            <a:pt x="7" y="14"/>
                          </a:lnTo>
                          <a:lnTo>
                            <a:pt x="7" y="14"/>
                          </a:lnTo>
                          <a:lnTo>
                            <a:pt x="0" y="10"/>
                          </a:lnTo>
                          <a:lnTo>
                            <a:pt x="0" y="10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12" y="10"/>
                          </a:lnTo>
                          <a:lnTo>
                            <a:pt x="12" y="10"/>
                          </a:lnTo>
                          <a:lnTo>
                            <a:pt x="26" y="19"/>
                          </a:lnTo>
                          <a:lnTo>
                            <a:pt x="26" y="19"/>
                          </a:lnTo>
                          <a:lnTo>
                            <a:pt x="38" y="31"/>
                          </a:lnTo>
                          <a:lnTo>
                            <a:pt x="38" y="31"/>
                          </a:lnTo>
                          <a:lnTo>
                            <a:pt x="43" y="33"/>
                          </a:lnTo>
                          <a:lnTo>
                            <a:pt x="43" y="33"/>
                          </a:lnTo>
                          <a:lnTo>
                            <a:pt x="47" y="40"/>
                          </a:lnTo>
                          <a:lnTo>
                            <a:pt x="47" y="40"/>
                          </a:lnTo>
                          <a:lnTo>
                            <a:pt x="45" y="45"/>
                          </a:lnTo>
                          <a:lnTo>
                            <a:pt x="45" y="45"/>
                          </a:lnTo>
                          <a:lnTo>
                            <a:pt x="40" y="50"/>
                          </a:lnTo>
                          <a:lnTo>
                            <a:pt x="40" y="50"/>
                          </a:lnTo>
                          <a:lnTo>
                            <a:pt x="40" y="50"/>
                          </a:lnTo>
                          <a:lnTo>
                            <a:pt x="40" y="50"/>
                          </a:lnTo>
                          <a:lnTo>
                            <a:pt x="40" y="50"/>
                          </a:lnTo>
                          <a:lnTo>
                            <a:pt x="40" y="50"/>
                          </a:lnTo>
                          <a:close/>
                        </a:path>
                      </a:pathLst>
                    </a:custGeom>
                    <a:solidFill>
                      <a:srgbClr val="0070C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67" name="Freeform 1190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820" y="1673"/>
                      <a:ext cx="26" cy="14"/>
                    </a:xfrm>
                    <a:custGeom>
                      <a:avLst/>
                      <a:gdLst/>
                      <a:ahLst/>
                      <a:cxnLst>
                        <a:cxn ang="0">
                          <a:pos x="23" y="12"/>
                        </a:cxn>
                        <a:cxn ang="0">
                          <a:pos x="16" y="10"/>
                        </a:cxn>
                        <a:cxn ang="0">
                          <a:pos x="16" y="10"/>
                        </a:cxn>
                        <a:cxn ang="0">
                          <a:pos x="16" y="10"/>
                        </a:cxn>
                        <a:cxn ang="0">
                          <a:pos x="16" y="10"/>
                        </a:cxn>
                        <a:cxn ang="0">
                          <a:pos x="16" y="7"/>
                        </a:cxn>
                        <a:cxn ang="0">
                          <a:pos x="16" y="7"/>
                        </a:cxn>
                        <a:cxn ang="0">
                          <a:pos x="16" y="7"/>
                        </a:cxn>
                        <a:cxn ang="0">
                          <a:pos x="16" y="7"/>
                        </a:cxn>
                        <a:cxn ang="0">
                          <a:pos x="16" y="7"/>
                        </a:cxn>
                        <a:cxn ang="0">
                          <a:pos x="16" y="7"/>
                        </a:cxn>
                        <a:cxn ang="0">
                          <a:pos x="9" y="3"/>
                        </a:cxn>
                        <a:cxn ang="0">
                          <a:pos x="9" y="3"/>
                        </a:cxn>
                        <a:cxn ang="0">
                          <a:pos x="9" y="3"/>
                        </a:cxn>
                        <a:cxn ang="0">
                          <a:pos x="9" y="3"/>
                        </a:cxn>
                        <a:cxn ang="0">
                          <a:pos x="7" y="3"/>
                        </a:cxn>
                        <a:cxn ang="0">
                          <a:pos x="7" y="3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4" y="5"/>
                        </a:cxn>
                        <a:cxn ang="0">
                          <a:pos x="4" y="5"/>
                        </a:cxn>
                        <a:cxn ang="0">
                          <a:pos x="2" y="5"/>
                        </a:cxn>
                        <a:cxn ang="0">
                          <a:pos x="2" y="5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4" y="0"/>
                        </a:cxn>
                        <a:cxn ang="0">
                          <a:pos x="4" y="0"/>
                        </a:cxn>
                        <a:cxn ang="0">
                          <a:pos x="9" y="0"/>
                        </a:cxn>
                        <a:cxn ang="0">
                          <a:pos x="9" y="0"/>
                        </a:cxn>
                        <a:cxn ang="0">
                          <a:pos x="9" y="0"/>
                        </a:cxn>
                        <a:cxn ang="0">
                          <a:pos x="9" y="0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9" y="5"/>
                        </a:cxn>
                        <a:cxn ang="0">
                          <a:pos x="19" y="5"/>
                        </a:cxn>
                        <a:cxn ang="0">
                          <a:pos x="23" y="10"/>
                        </a:cxn>
                        <a:cxn ang="0">
                          <a:pos x="23" y="10"/>
                        </a:cxn>
                        <a:cxn ang="0">
                          <a:pos x="23" y="12"/>
                        </a:cxn>
                        <a:cxn ang="0">
                          <a:pos x="23" y="12"/>
                        </a:cxn>
                        <a:cxn ang="0">
                          <a:pos x="23" y="12"/>
                        </a:cxn>
                        <a:cxn ang="0">
                          <a:pos x="23" y="12"/>
                        </a:cxn>
                        <a:cxn ang="0">
                          <a:pos x="23" y="12"/>
                        </a:cxn>
                        <a:cxn ang="0">
                          <a:pos x="23" y="12"/>
                        </a:cxn>
                        <a:cxn ang="0">
                          <a:pos x="23" y="12"/>
                        </a:cxn>
                        <a:cxn ang="0">
                          <a:pos x="23" y="12"/>
                        </a:cxn>
                      </a:cxnLst>
                      <a:rect l="0" t="0" r="r" b="b"/>
                      <a:pathLst>
                        <a:path w="23" h="12">
                          <a:moveTo>
                            <a:pt x="23" y="12"/>
                          </a:moveTo>
                          <a:lnTo>
                            <a:pt x="16" y="10"/>
                          </a:lnTo>
                          <a:lnTo>
                            <a:pt x="16" y="10"/>
                          </a:lnTo>
                          <a:lnTo>
                            <a:pt x="16" y="10"/>
                          </a:lnTo>
                          <a:lnTo>
                            <a:pt x="16" y="10"/>
                          </a:lnTo>
                          <a:lnTo>
                            <a:pt x="16" y="7"/>
                          </a:lnTo>
                          <a:lnTo>
                            <a:pt x="16" y="7"/>
                          </a:lnTo>
                          <a:lnTo>
                            <a:pt x="16" y="7"/>
                          </a:lnTo>
                          <a:lnTo>
                            <a:pt x="16" y="7"/>
                          </a:lnTo>
                          <a:lnTo>
                            <a:pt x="16" y="7"/>
                          </a:lnTo>
                          <a:lnTo>
                            <a:pt x="16" y="7"/>
                          </a:lnTo>
                          <a:lnTo>
                            <a:pt x="9" y="3"/>
                          </a:lnTo>
                          <a:lnTo>
                            <a:pt x="9" y="3"/>
                          </a:lnTo>
                          <a:lnTo>
                            <a:pt x="9" y="3"/>
                          </a:lnTo>
                          <a:lnTo>
                            <a:pt x="9" y="3"/>
                          </a:lnTo>
                          <a:lnTo>
                            <a:pt x="7" y="3"/>
                          </a:lnTo>
                          <a:lnTo>
                            <a:pt x="7" y="3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4" y="5"/>
                          </a:lnTo>
                          <a:lnTo>
                            <a:pt x="4" y="5"/>
                          </a:lnTo>
                          <a:lnTo>
                            <a:pt x="2" y="5"/>
                          </a:lnTo>
                          <a:lnTo>
                            <a:pt x="2" y="5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4" y="0"/>
                          </a:lnTo>
                          <a:lnTo>
                            <a:pt x="4" y="0"/>
                          </a:lnTo>
                          <a:lnTo>
                            <a:pt x="9" y="0"/>
                          </a:lnTo>
                          <a:lnTo>
                            <a:pt x="9" y="0"/>
                          </a:lnTo>
                          <a:lnTo>
                            <a:pt x="9" y="0"/>
                          </a:lnTo>
                          <a:lnTo>
                            <a:pt x="9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9" y="5"/>
                          </a:lnTo>
                          <a:lnTo>
                            <a:pt x="19" y="5"/>
                          </a:lnTo>
                          <a:lnTo>
                            <a:pt x="23" y="10"/>
                          </a:lnTo>
                          <a:lnTo>
                            <a:pt x="23" y="10"/>
                          </a:lnTo>
                          <a:lnTo>
                            <a:pt x="23" y="12"/>
                          </a:lnTo>
                          <a:lnTo>
                            <a:pt x="23" y="12"/>
                          </a:lnTo>
                          <a:lnTo>
                            <a:pt x="23" y="12"/>
                          </a:lnTo>
                          <a:lnTo>
                            <a:pt x="23" y="12"/>
                          </a:lnTo>
                          <a:lnTo>
                            <a:pt x="23" y="12"/>
                          </a:lnTo>
                          <a:lnTo>
                            <a:pt x="23" y="12"/>
                          </a:lnTo>
                          <a:lnTo>
                            <a:pt x="23" y="12"/>
                          </a:lnTo>
                          <a:lnTo>
                            <a:pt x="23" y="12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68" name="Freeform 1191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854" y="1695"/>
                      <a:ext cx="46" cy="37"/>
                    </a:xfrm>
                    <a:custGeom>
                      <a:avLst/>
                      <a:gdLst/>
                      <a:ahLst/>
                      <a:cxnLst>
                        <a:cxn ang="0">
                          <a:pos x="31" y="31"/>
                        </a:cxn>
                        <a:cxn ang="0">
                          <a:pos x="26" y="28"/>
                        </a:cxn>
                        <a:cxn ang="0">
                          <a:pos x="26" y="28"/>
                        </a:cxn>
                        <a:cxn ang="0">
                          <a:pos x="26" y="26"/>
                        </a:cxn>
                        <a:cxn ang="0">
                          <a:pos x="26" y="26"/>
                        </a:cxn>
                        <a:cxn ang="0">
                          <a:pos x="24" y="24"/>
                        </a:cxn>
                        <a:cxn ang="0">
                          <a:pos x="19" y="21"/>
                        </a:cxn>
                        <a:cxn ang="0">
                          <a:pos x="19" y="21"/>
                        </a:cxn>
                        <a:cxn ang="0">
                          <a:pos x="12" y="14"/>
                        </a:cxn>
                        <a:cxn ang="0">
                          <a:pos x="10" y="10"/>
                        </a:cxn>
                        <a:cxn ang="0">
                          <a:pos x="10" y="10"/>
                        </a:cxn>
                        <a:cxn ang="0">
                          <a:pos x="12" y="10"/>
                        </a:cxn>
                        <a:cxn ang="0">
                          <a:pos x="12" y="10"/>
                        </a:cxn>
                        <a:cxn ang="0">
                          <a:pos x="12" y="7"/>
                        </a:cxn>
                        <a:cxn ang="0">
                          <a:pos x="12" y="7"/>
                        </a:cxn>
                        <a:cxn ang="0">
                          <a:pos x="10" y="5"/>
                        </a:cxn>
                        <a:cxn ang="0">
                          <a:pos x="7" y="2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5" y="5"/>
                        </a:cxn>
                        <a:cxn ang="0">
                          <a:pos x="3" y="5"/>
                        </a:cxn>
                        <a:cxn ang="0">
                          <a:pos x="3" y="2"/>
                        </a:cxn>
                        <a:cxn ang="0">
                          <a:pos x="0" y="2"/>
                        </a:cxn>
                        <a:cxn ang="0">
                          <a:pos x="3" y="2"/>
                        </a:cxn>
                        <a:cxn ang="0">
                          <a:pos x="5" y="0"/>
                        </a:cxn>
                        <a:cxn ang="0">
                          <a:pos x="7" y="0"/>
                        </a:cxn>
                        <a:cxn ang="0">
                          <a:pos x="12" y="5"/>
                        </a:cxn>
                        <a:cxn ang="0">
                          <a:pos x="19" y="14"/>
                        </a:cxn>
                        <a:cxn ang="0">
                          <a:pos x="24" y="19"/>
                        </a:cxn>
                        <a:cxn ang="0">
                          <a:pos x="26" y="21"/>
                        </a:cxn>
                        <a:cxn ang="0">
                          <a:pos x="29" y="24"/>
                        </a:cxn>
                        <a:cxn ang="0">
                          <a:pos x="31" y="24"/>
                        </a:cxn>
                        <a:cxn ang="0">
                          <a:pos x="33" y="28"/>
                        </a:cxn>
                        <a:cxn ang="0">
                          <a:pos x="36" y="28"/>
                        </a:cxn>
                        <a:cxn ang="0">
                          <a:pos x="38" y="28"/>
                        </a:cxn>
                        <a:cxn ang="0">
                          <a:pos x="38" y="28"/>
                        </a:cxn>
                        <a:cxn ang="0">
                          <a:pos x="38" y="28"/>
                        </a:cxn>
                        <a:cxn ang="0">
                          <a:pos x="38" y="31"/>
                        </a:cxn>
                        <a:cxn ang="0">
                          <a:pos x="40" y="33"/>
                        </a:cxn>
                        <a:cxn ang="0">
                          <a:pos x="38" y="33"/>
                        </a:cxn>
                        <a:cxn ang="0">
                          <a:pos x="38" y="33"/>
                        </a:cxn>
                        <a:cxn ang="0">
                          <a:pos x="38" y="33"/>
                        </a:cxn>
                      </a:cxnLst>
                      <a:rect l="0" t="0" r="r" b="b"/>
                      <a:pathLst>
                        <a:path w="40" h="33">
                          <a:moveTo>
                            <a:pt x="38" y="33"/>
                          </a:moveTo>
                          <a:lnTo>
                            <a:pt x="31" y="31"/>
                          </a:lnTo>
                          <a:lnTo>
                            <a:pt x="31" y="31"/>
                          </a:lnTo>
                          <a:lnTo>
                            <a:pt x="26" y="28"/>
                          </a:lnTo>
                          <a:lnTo>
                            <a:pt x="26" y="28"/>
                          </a:lnTo>
                          <a:lnTo>
                            <a:pt x="26" y="28"/>
                          </a:lnTo>
                          <a:lnTo>
                            <a:pt x="26" y="28"/>
                          </a:lnTo>
                          <a:lnTo>
                            <a:pt x="26" y="26"/>
                          </a:lnTo>
                          <a:lnTo>
                            <a:pt x="26" y="26"/>
                          </a:lnTo>
                          <a:lnTo>
                            <a:pt x="26" y="26"/>
                          </a:lnTo>
                          <a:lnTo>
                            <a:pt x="26" y="26"/>
                          </a:lnTo>
                          <a:lnTo>
                            <a:pt x="24" y="24"/>
                          </a:lnTo>
                          <a:lnTo>
                            <a:pt x="24" y="24"/>
                          </a:lnTo>
                          <a:lnTo>
                            <a:pt x="19" y="21"/>
                          </a:lnTo>
                          <a:lnTo>
                            <a:pt x="19" y="21"/>
                          </a:lnTo>
                          <a:lnTo>
                            <a:pt x="19" y="21"/>
                          </a:lnTo>
                          <a:lnTo>
                            <a:pt x="19" y="21"/>
                          </a:lnTo>
                          <a:lnTo>
                            <a:pt x="12" y="14"/>
                          </a:lnTo>
                          <a:lnTo>
                            <a:pt x="12" y="14"/>
                          </a:lnTo>
                          <a:lnTo>
                            <a:pt x="10" y="10"/>
                          </a:lnTo>
                          <a:lnTo>
                            <a:pt x="10" y="10"/>
                          </a:lnTo>
                          <a:lnTo>
                            <a:pt x="10" y="10"/>
                          </a:lnTo>
                          <a:lnTo>
                            <a:pt x="10" y="10"/>
                          </a:lnTo>
                          <a:lnTo>
                            <a:pt x="12" y="10"/>
                          </a:lnTo>
                          <a:lnTo>
                            <a:pt x="12" y="10"/>
                          </a:lnTo>
                          <a:lnTo>
                            <a:pt x="12" y="10"/>
                          </a:lnTo>
                          <a:lnTo>
                            <a:pt x="12" y="10"/>
                          </a:lnTo>
                          <a:lnTo>
                            <a:pt x="12" y="7"/>
                          </a:lnTo>
                          <a:lnTo>
                            <a:pt x="12" y="7"/>
                          </a:lnTo>
                          <a:lnTo>
                            <a:pt x="12" y="7"/>
                          </a:lnTo>
                          <a:lnTo>
                            <a:pt x="12" y="7"/>
                          </a:lnTo>
                          <a:lnTo>
                            <a:pt x="10" y="5"/>
                          </a:lnTo>
                          <a:lnTo>
                            <a:pt x="10" y="5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3" y="5"/>
                          </a:lnTo>
                          <a:lnTo>
                            <a:pt x="3" y="5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12" y="5"/>
                          </a:lnTo>
                          <a:lnTo>
                            <a:pt x="12" y="5"/>
                          </a:lnTo>
                          <a:lnTo>
                            <a:pt x="19" y="14"/>
                          </a:lnTo>
                          <a:lnTo>
                            <a:pt x="19" y="14"/>
                          </a:lnTo>
                          <a:lnTo>
                            <a:pt x="24" y="19"/>
                          </a:lnTo>
                          <a:lnTo>
                            <a:pt x="24" y="19"/>
                          </a:lnTo>
                          <a:lnTo>
                            <a:pt x="26" y="21"/>
                          </a:lnTo>
                          <a:lnTo>
                            <a:pt x="26" y="21"/>
                          </a:lnTo>
                          <a:lnTo>
                            <a:pt x="29" y="24"/>
                          </a:lnTo>
                          <a:lnTo>
                            <a:pt x="29" y="24"/>
                          </a:lnTo>
                          <a:lnTo>
                            <a:pt x="31" y="24"/>
                          </a:lnTo>
                          <a:lnTo>
                            <a:pt x="31" y="24"/>
                          </a:lnTo>
                          <a:lnTo>
                            <a:pt x="33" y="28"/>
                          </a:lnTo>
                          <a:lnTo>
                            <a:pt x="33" y="28"/>
                          </a:lnTo>
                          <a:lnTo>
                            <a:pt x="36" y="28"/>
                          </a:lnTo>
                          <a:lnTo>
                            <a:pt x="36" y="28"/>
                          </a:lnTo>
                          <a:lnTo>
                            <a:pt x="38" y="28"/>
                          </a:lnTo>
                          <a:lnTo>
                            <a:pt x="38" y="28"/>
                          </a:lnTo>
                          <a:lnTo>
                            <a:pt x="38" y="28"/>
                          </a:lnTo>
                          <a:lnTo>
                            <a:pt x="38" y="28"/>
                          </a:lnTo>
                          <a:lnTo>
                            <a:pt x="38" y="28"/>
                          </a:lnTo>
                          <a:lnTo>
                            <a:pt x="38" y="28"/>
                          </a:lnTo>
                          <a:lnTo>
                            <a:pt x="38" y="31"/>
                          </a:lnTo>
                          <a:lnTo>
                            <a:pt x="38" y="31"/>
                          </a:lnTo>
                          <a:lnTo>
                            <a:pt x="40" y="33"/>
                          </a:lnTo>
                          <a:lnTo>
                            <a:pt x="40" y="33"/>
                          </a:lnTo>
                          <a:lnTo>
                            <a:pt x="38" y="33"/>
                          </a:lnTo>
                          <a:lnTo>
                            <a:pt x="38" y="33"/>
                          </a:lnTo>
                          <a:lnTo>
                            <a:pt x="38" y="33"/>
                          </a:lnTo>
                          <a:lnTo>
                            <a:pt x="38" y="33"/>
                          </a:lnTo>
                          <a:lnTo>
                            <a:pt x="38" y="33"/>
                          </a:lnTo>
                          <a:lnTo>
                            <a:pt x="38" y="33"/>
                          </a:lnTo>
                          <a:close/>
                        </a:path>
                      </a:pathLst>
                    </a:custGeom>
                    <a:solidFill>
                      <a:srgbClr val="0070C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69" name="Freeform 1192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900" y="1735"/>
                      <a:ext cx="19" cy="16"/>
                    </a:xfrm>
                    <a:custGeom>
                      <a:avLst/>
                      <a:gdLst/>
                      <a:ahLst/>
                      <a:cxnLst>
                        <a:cxn ang="0">
                          <a:pos x="17" y="14"/>
                        </a:cxn>
                        <a:cxn ang="0">
                          <a:pos x="17" y="11"/>
                        </a:cxn>
                        <a:cxn ang="0">
                          <a:pos x="17" y="11"/>
                        </a:cxn>
                        <a:cxn ang="0">
                          <a:pos x="15" y="11"/>
                        </a:cxn>
                        <a:cxn ang="0">
                          <a:pos x="15" y="11"/>
                        </a:cxn>
                        <a:cxn ang="0">
                          <a:pos x="12" y="11"/>
                        </a:cxn>
                        <a:cxn ang="0">
                          <a:pos x="12" y="11"/>
                        </a:cxn>
                        <a:cxn ang="0">
                          <a:pos x="12" y="11"/>
                        </a:cxn>
                        <a:cxn ang="0">
                          <a:pos x="12" y="11"/>
                        </a:cxn>
                        <a:cxn ang="0">
                          <a:pos x="5" y="9"/>
                        </a:cxn>
                        <a:cxn ang="0">
                          <a:pos x="5" y="9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4"/>
                        </a:cxn>
                        <a:cxn ang="0">
                          <a:pos x="0" y="4"/>
                        </a:cxn>
                        <a:cxn ang="0">
                          <a:pos x="3" y="2"/>
                        </a:cxn>
                        <a:cxn ang="0">
                          <a:pos x="3" y="2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8" y="2"/>
                        </a:cxn>
                        <a:cxn ang="0">
                          <a:pos x="8" y="2"/>
                        </a:cxn>
                        <a:cxn ang="0">
                          <a:pos x="8" y="2"/>
                        </a:cxn>
                        <a:cxn ang="0">
                          <a:pos x="8" y="2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5" y="4"/>
                        </a:cxn>
                        <a:cxn ang="0">
                          <a:pos x="5" y="4"/>
                        </a:cxn>
                        <a:cxn ang="0">
                          <a:pos x="5" y="4"/>
                        </a:cxn>
                        <a:cxn ang="0">
                          <a:pos x="5" y="4"/>
                        </a:cxn>
                        <a:cxn ang="0">
                          <a:pos x="5" y="4"/>
                        </a:cxn>
                        <a:cxn ang="0">
                          <a:pos x="5" y="4"/>
                        </a:cxn>
                        <a:cxn ang="0">
                          <a:pos x="12" y="7"/>
                        </a:cxn>
                        <a:cxn ang="0">
                          <a:pos x="12" y="7"/>
                        </a:cxn>
                        <a:cxn ang="0">
                          <a:pos x="15" y="7"/>
                        </a:cxn>
                        <a:cxn ang="0">
                          <a:pos x="15" y="7"/>
                        </a:cxn>
                        <a:cxn ang="0">
                          <a:pos x="17" y="11"/>
                        </a:cxn>
                        <a:cxn ang="0">
                          <a:pos x="17" y="11"/>
                        </a:cxn>
                        <a:cxn ang="0">
                          <a:pos x="17" y="11"/>
                        </a:cxn>
                        <a:cxn ang="0">
                          <a:pos x="17" y="11"/>
                        </a:cxn>
                        <a:cxn ang="0">
                          <a:pos x="17" y="14"/>
                        </a:cxn>
                        <a:cxn ang="0">
                          <a:pos x="17" y="14"/>
                        </a:cxn>
                        <a:cxn ang="0">
                          <a:pos x="17" y="14"/>
                        </a:cxn>
                        <a:cxn ang="0">
                          <a:pos x="17" y="14"/>
                        </a:cxn>
                      </a:cxnLst>
                      <a:rect l="0" t="0" r="r" b="b"/>
                      <a:pathLst>
                        <a:path w="17" h="14">
                          <a:moveTo>
                            <a:pt x="17" y="14"/>
                          </a:moveTo>
                          <a:lnTo>
                            <a:pt x="17" y="11"/>
                          </a:lnTo>
                          <a:lnTo>
                            <a:pt x="17" y="11"/>
                          </a:lnTo>
                          <a:lnTo>
                            <a:pt x="15" y="11"/>
                          </a:lnTo>
                          <a:lnTo>
                            <a:pt x="15" y="11"/>
                          </a:lnTo>
                          <a:lnTo>
                            <a:pt x="12" y="11"/>
                          </a:lnTo>
                          <a:lnTo>
                            <a:pt x="12" y="11"/>
                          </a:lnTo>
                          <a:lnTo>
                            <a:pt x="12" y="11"/>
                          </a:lnTo>
                          <a:lnTo>
                            <a:pt x="12" y="11"/>
                          </a:lnTo>
                          <a:lnTo>
                            <a:pt x="5" y="9"/>
                          </a:lnTo>
                          <a:lnTo>
                            <a:pt x="5" y="9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4"/>
                          </a:lnTo>
                          <a:lnTo>
                            <a:pt x="0" y="4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8" y="2"/>
                          </a:lnTo>
                          <a:lnTo>
                            <a:pt x="8" y="2"/>
                          </a:lnTo>
                          <a:lnTo>
                            <a:pt x="8" y="2"/>
                          </a:lnTo>
                          <a:lnTo>
                            <a:pt x="8" y="2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5" y="4"/>
                          </a:lnTo>
                          <a:lnTo>
                            <a:pt x="5" y="4"/>
                          </a:lnTo>
                          <a:lnTo>
                            <a:pt x="5" y="4"/>
                          </a:lnTo>
                          <a:lnTo>
                            <a:pt x="5" y="4"/>
                          </a:lnTo>
                          <a:lnTo>
                            <a:pt x="5" y="4"/>
                          </a:lnTo>
                          <a:lnTo>
                            <a:pt x="5" y="4"/>
                          </a:lnTo>
                          <a:lnTo>
                            <a:pt x="12" y="7"/>
                          </a:lnTo>
                          <a:lnTo>
                            <a:pt x="12" y="7"/>
                          </a:lnTo>
                          <a:lnTo>
                            <a:pt x="15" y="7"/>
                          </a:lnTo>
                          <a:lnTo>
                            <a:pt x="15" y="7"/>
                          </a:lnTo>
                          <a:lnTo>
                            <a:pt x="17" y="11"/>
                          </a:lnTo>
                          <a:lnTo>
                            <a:pt x="17" y="11"/>
                          </a:lnTo>
                          <a:lnTo>
                            <a:pt x="17" y="11"/>
                          </a:lnTo>
                          <a:lnTo>
                            <a:pt x="17" y="11"/>
                          </a:lnTo>
                          <a:lnTo>
                            <a:pt x="17" y="14"/>
                          </a:lnTo>
                          <a:lnTo>
                            <a:pt x="17" y="14"/>
                          </a:lnTo>
                          <a:lnTo>
                            <a:pt x="17" y="14"/>
                          </a:lnTo>
                          <a:lnTo>
                            <a:pt x="17" y="14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70" name="Freeform 1193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949" y="1748"/>
                      <a:ext cx="6" cy="8"/>
                    </a:xfrm>
                    <a:custGeom>
                      <a:avLst/>
                      <a:gdLst/>
                      <a:ahLst/>
                      <a:cxnLst>
                        <a:cxn ang="0">
                          <a:pos x="2" y="7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5" y="3"/>
                        </a:cxn>
                        <a:cxn ang="0">
                          <a:pos x="5" y="3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</a:cxnLst>
                      <a:rect l="0" t="0" r="r" b="b"/>
                      <a:pathLst>
                        <a:path w="5" h="7">
                          <a:moveTo>
                            <a:pt x="2" y="7"/>
                          </a:move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5" y="3"/>
                          </a:lnTo>
                          <a:lnTo>
                            <a:pt x="5" y="3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71" name="Freeform 1194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925" y="1754"/>
                      <a:ext cx="10" cy="8"/>
                    </a:xfrm>
                    <a:custGeom>
                      <a:avLst/>
                      <a:gdLst/>
                      <a:ahLst/>
                      <a:cxnLst>
                        <a:cxn ang="0">
                          <a:pos x="7" y="7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4" y="0"/>
                        </a:cxn>
                        <a:cxn ang="0">
                          <a:pos x="4" y="0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9" y="5"/>
                        </a:cxn>
                        <a:cxn ang="0">
                          <a:pos x="9" y="5"/>
                        </a:cxn>
                        <a:cxn ang="0">
                          <a:pos x="9" y="7"/>
                        </a:cxn>
                        <a:cxn ang="0">
                          <a:pos x="9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</a:cxnLst>
                      <a:rect l="0" t="0" r="r" b="b"/>
                      <a:pathLst>
                        <a:path w="9" h="7">
                          <a:moveTo>
                            <a:pt x="7" y="7"/>
                          </a:move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4" y="0"/>
                          </a:lnTo>
                          <a:lnTo>
                            <a:pt x="4" y="0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9" y="5"/>
                          </a:lnTo>
                          <a:lnTo>
                            <a:pt x="9" y="5"/>
                          </a:lnTo>
                          <a:lnTo>
                            <a:pt x="9" y="7"/>
                          </a:lnTo>
                          <a:lnTo>
                            <a:pt x="9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72" name="Freeform 1195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968" y="1754"/>
                      <a:ext cx="32" cy="10"/>
                    </a:xfrm>
                    <a:custGeom>
                      <a:avLst/>
                      <a:gdLst/>
                      <a:ahLst/>
                      <a:cxnLst>
                        <a:cxn ang="0">
                          <a:pos x="4" y="9"/>
                        </a:cxn>
                        <a:cxn ang="0">
                          <a:pos x="2" y="9"/>
                        </a:cxn>
                        <a:cxn ang="0">
                          <a:pos x="2" y="9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9" y="7"/>
                        </a:cxn>
                        <a:cxn ang="0">
                          <a:pos x="9" y="7"/>
                        </a:cxn>
                        <a:cxn ang="0">
                          <a:pos x="21" y="2"/>
                        </a:cxn>
                        <a:cxn ang="0">
                          <a:pos x="21" y="2"/>
                        </a:cxn>
                        <a:cxn ang="0">
                          <a:pos x="21" y="2"/>
                        </a:cxn>
                        <a:cxn ang="0">
                          <a:pos x="21" y="2"/>
                        </a:cxn>
                        <a:cxn ang="0">
                          <a:pos x="21" y="2"/>
                        </a:cxn>
                        <a:cxn ang="0">
                          <a:pos x="21" y="2"/>
                        </a:cxn>
                        <a:cxn ang="0">
                          <a:pos x="26" y="0"/>
                        </a:cxn>
                        <a:cxn ang="0">
                          <a:pos x="26" y="0"/>
                        </a:cxn>
                        <a:cxn ang="0">
                          <a:pos x="26" y="0"/>
                        </a:cxn>
                        <a:cxn ang="0">
                          <a:pos x="26" y="0"/>
                        </a:cxn>
                        <a:cxn ang="0">
                          <a:pos x="26" y="0"/>
                        </a:cxn>
                        <a:cxn ang="0">
                          <a:pos x="26" y="0"/>
                        </a:cxn>
                        <a:cxn ang="0">
                          <a:pos x="28" y="2"/>
                        </a:cxn>
                        <a:cxn ang="0">
                          <a:pos x="28" y="2"/>
                        </a:cxn>
                        <a:cxn ang="0">
                          <a:pos x="26" y="7"/>
                        </a:cxn>
                        <a:cxn ang="0">
                          <a:pos x="26" y="7"/>
                        </a:cxn>
                        <a:cxn ang="0">
                          <a:pos x="26" y="7"/>
                        </a:cxn>
                        <a:cxn ang="0">
                          <a:pos x="26" y="7"/>
                        </a:cxn>
                        <a:cxn ang="0">
                          <a:pos x="23" y="7"/>
                        </a:cxn>
                        <a:cxn ang="0">
                          <a:pos x="23" y="7"/>
                        </a:cxn>
                        <a:cxn ang="0">
                          <a:pos x="23" y="7"/>
                        </a:cxn>
                        <a:cxn ang="0">
                          <a:pos x="23" y="7"/>
                        </a:cxn>
                        <a:cxn ang="0">
                          <a:pos x="26" y="5"/>
                        </a:cxn>
                        <a:cxn ang="0">
                          <a:pos x="26" y="5"/>
                        </a:cxn>
                        <a:cxn ang="0">
                          <a:pos x="21" y="5"/>
                        </a:cxn>
                        <a:cxn ang="0">
                          <a:pos x="21" y="5"/>
                        </a:cxn>
                        <a:cxn ang="0">
                          <a:pos x="11" y="7"/>
                        </a:cxn>
                        <a:cxn ang="0">
                          <a:pos x="11" y="7"/>
                        </a:cxn>
                        <a:cxn ang="0">
                          <a:pos x="4" y="9"/>
                        </a:cxn>
                        <a:cxn ang="0">
                          <a:pos x="4" y="9"/>
                        </a:cxn>
                        <a:cxn ang="0">
                          <a:pos x="4" y="9"/>
                        </a:cxn>
                        <a:cxn ang="0">
                          <a:pos x="4" y="9"/>
                        </a:cxn>
                      </a:cxnLst>
                      <a:rect l="0" t="0" r="r" b="b"/>
                      <a:pathLst>
                        <a:path w="28" h="9">
                          <a:moveTo>
                            <a:pt x="4" y="9"/>
                          </a:moveTo>
                          <a:lnTo>
                            <a:pt x="2" y="9"/>
                          </a:lnTo>
                          <a:lnTo>
                            <a:pt x="2" y="9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9" y="7"/>
                          </a:lnTo>
                          <a:lnTo>
                            <a:pt x="9" y="7"/>
                          </a:lnTo>
                          <a:lnTo>
                            <a:pt x="21" y="2"/>
                          </a:lnTo>
                          <a:lnTo>
                            <a:pt x="21" y="2"/>
                          </a:lnTo>
                          <a:lnTo>
                            <a:pt x="21" y="2"/>
                          </a:lnTo>
                          <a:lnTo>
                            <a:pt x="21" y="2"/>
                          </a:lnTo>
                          <a:lnTo>
                            <a:pt x="21" y="2"/>
                          </a:lnTo>
                          <a:lnTo>
                            <a:pt x="21" y="2"/>
                          </a:lnTo>
                          <a:lnTo>
                            <a:pt x="26" y="0"/>
                          </a:lnTo>
                          <a:lnTo>
                            <a:pt x="26" y="0"/>
                          </a:lnTo>
                          <a:lnTo>
                            <a:pt x="26" y="0"/>
                          </a:lnTo>
                          <a:lnTo>
                            <a:pt x="26" y="0"/>
                          </a:lnTo>
                          <a:lnTo>
                            <a:pt x="26" y="0"/>
                          </a:lnTo>
                          <a:lnTo>
                            <a:pt x="26" y="0"/>
                          </a:lnTo>
                          <a:lnTo>
                            <a:pt x="28" y="2"/>
                          </a:lnTo>
                          <a:lnTo>
                            <a:pt x="28" y="2"/>
                          </a:lnTo>
                          <a:lnTo>
                            <a:pt x="26" y="7"/>
                          </a:lnTo>
                          <a:lnTo>
                            <a:pt x="26" y="7"/>
                          </a:lnTo>
                          <a:lnTo>
                            <a:pt x="26" y="7"/>
                          </a:lnTo>
                          <a:lnTo>
                            <a:pt x="26" y="7"/>
                          </a:lnTo>
                          <a:lnTo>
                            <a:pt x="23" y="7"/>
                          </a:lnTo>
                          <a:lnTo>
                            <a:pt x="23" y="7"/>
                          </a:lnTo>
                          <a:lnTo>
                            <a:pt x="23" y="7"/>
                          </a:lnTo>
                          <a:lnTo>
                            <a:pt x="23" y="7"/>
                          </a:lnTo>
                          <a:lnTo>
                            <a:pt x="26" y="5"/>
                          </a:lnTo>
                          <a:lnTo>
                            <a:pt x="26" y="5"/>
                          </a:lnTo>
                          <a:lnTo>
                            <a:pt x="21" y="5"/>
                          </a:lnTo>
                          <a:lnTo>
                            <a:pt x="21" y="5"/>
                          </a:lnTo>
                          <a:lnTo>
                            <a:pt x="11" y="7"/>
                          </a:lnTo>
                          <a:lnTo>
                            <a:pt x="11" y="7"/>
                          </a:lnTo>
                          <a:lnTo>
                            <a:pt x="4" y="9"/>
                          </a:lnTo>
                          <a:lnTo>
                            <a:pt x="4" y="9"/>
                          </a:lnTo>
                          <a:lnTo>
                            <a:pt x="4" y="9"/>
                          </a:lnTo>
                          <a:lnTo>
                            <a:pt x="4" y="9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73" name="Freeform 1196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981" y="1767"/>
                      <a:ext cx="25" cy="36"/>
                    </a:xfrm>
                    <a:custGeom>
                      <a:avLst/>
                      <a:gdLst/>
                      <a:ahLst/>
                      <a:cxnLst>
                        <a:cxn ang="0">
                          <a:pos x="19" y="31"/>
                        </a:cxn>
                        <a:cxn ang="0">
                          <a:pos x="12" y="26"/>
                        </a:cxn>
                        <a:cxn ang="0">
                          <a:pos x="12" y="26"/>
                        </a:cxn>
                        <a:cxn ang="0">
                          <a:pos x="10" y="21"/>
                        </a:cxn>
                        <a:cxn ang="0">
                          <a:pos x="7" y="19"/>
                        </a:cxn>
                        <a:cxn ang="0">
                          <a:pos x="3" y="19"/>
                        </a:cxn>
                        <a:cxn ang="0">
                          <a:pos x="0" y="14"/>
                        </a:cxn>
                        <a:cxn ang="0">
                          <a:pos x="0" y="14"/>
                        </a:cxn>
                        <a:cxn ang="0">
                          <a:pos x="3" y="14"/>
                        </a:cxn>
                        <a:cxn ang="0">
                          <a:pos x="5" y="14"/>
                        </a:cxn>
                        <a:cxn ang="0">
                          <a:pos x="7" y="19"/>
                        </a:cxn>
                        <a:cxn ang="0">
                          <a:pos x="10" y="21"/>
                        </a:cxn>
                        <a:cxn ang="0">
                          <a:pos x="10" y="21"/>
                        </a:cxn>
                        <a:cxn ang="0">
                          <a:pos x="12" y="21"/>
                        </a:cxn>
                        <a:cxn ang="0">
                          <a:pos x="12" y="19"/>
                        </a:cxn>
                        <a:cxn ang="0">
                          <a:pos x="12" y="12"/>
                        </a:cxn>
                        <a:cxn ang="0">
                          <a:pos x="12" y="9"/>
                        </a:cxn>
                        <a:cxn ang="0">
                          <a:pos x="10" y="7"/>
                        </a:cxn>
                        <a:cxn ang="0">
                          <a:pos x="10" y="5"/>
                        </a:cxn>
                        <a:cxn ang="0">
                          <a:pos x="10" y="5"/>
                        </a:cxn>
                        <a:cxn ang="0">
                          <a:pos x="12" y="0"/>
                        </a:cxn>
                        <a:cxn ang="0">
                          <a:pos x="15" y="0"/>
                        </a:cxn>
                        <a:cxn ang="0">
                          <a:pos x="15" y="2"/>
                        </a:cxn>
                        <a:cxn ang="0">
                          <a:pos x="12" y="2"/>
                        </a:cxn>
                        <a:cxn ang="0">
                          <a:pos x="12" y="5"/>
                        </a:cxn>
                        <a:cxn ang="0">
                          <a:pos x="15" y="16"/>
                        </a:cxn>
                        <a:cxn ang="0">
                          <a:pos x="15" y="21"/>
                        </a:cxn>
                        <a:cxn ang="0">
                          <a:pos x="17" y="21"/>
                        </a:cxn>
                        <a:cxn ang="0">
                          <a:pos x="19" y="23"/>
                        </a:cxn>
                        <a:cxn ang="0">
                          <a:pos x="19" y="26"/>
                        </a:cxn>
                        <a:cxn ang="0">
                          <a:pos x="22" y="28"/>
                        </a:cxn>
                        <a:cxn ang="0">
                          <a:pos x="19" y="31"/>
                        </a:cxn>
                        <a:cxn ang="0">
                          <a:pos x="19" y="31"/>
                        </a:cxn>
                      </a:cxnLst>
                      <a:rect l="0" t="0" r="r" b="b"/>
                      <a:pathLst>
                        <a:path w="22" h="31">
                          <a:moveTo>
                            <a:pt x="19" y="31"/>
                          </a:moveTo>
                          <a:lnTo>
                            <a:pt x="19" y="31"/>
                          </a:lnTo>
                          <a:lnTo>
                            <a:pt x="19" y="31"/>
                          </a:lnTo>
                          <a:lnTo>
                            <a:pt x="12" y="26"/>
                          </a:lnTo>
                          <a:lnTo>
                            <a:pt x="12" y="26"/>
                          </a:lnTo>
                          <a:lnTo>
                            <a:pt x="12" y="26"/>
                          </a:lnTo>
                          <a:lnTo>
                            <a:pt x="12" y="26"/>
                          </a:lnTo>
                          <a:lnTo>
                            <a:pt x="10" y="21"/>
                          </a:lnTo>
                          <a:lnTo>
                            <a:pt x="10" y="21"/>
                          </a:lnTo>
                          <a:lnTo>
                            <a:pt x="7" y="19"/>
                          </a:lnTo>
                          <a:lnTo>
                            <a:pt x="7" y="19"/>
                          </a:lnTo>
                          <a:lnTo>
                            <a:pt x="3" y="19"/>
                          </a:lnTo>
                          <a:lnTo>
                            <a:pt x="3" y="19"/>
                          </a:lnTo>
                          <a:lnTo>
                            <a:pt x="0" y="14"/>
                          </a:lnTo>
                          <a:lnTo>
                            <a:pt x="0" y="14"/>
                          </a:lnTo>
                          <a:lnTo>
                            <a:pt x="0" y="14"/>
                          </a:lnTo>
                          <a:lnTo>
                            <a:pt x="0" y="14"/>
                          </a:lnTo>
                          <a:lnTo>
                            <a:pt x="3" y="14"/>
                          </a:lnTo>
                          <a:lnTo>
                            <a:pt x="3" y="14"/>
                          </a:lnTo>
                          <a:lnTo>
                            <a:pt x="5" y="14"/>
                          </a:lnTo>
                          <a:lnTo>
                            <a:pt x="5" y="14"/>
                          </a:lnTo>
                          <a:lnTo>
                            <a:pt x="7" y="19"/>
                          </a:lnTo>
                          <a:lnTo>
                            <a:pt x="7" y="19"/>
                          </a:lnTo>
                          <a:lnTo>
                            <a:pt x="10" y="21"/>
                          </a:lnTo>
                          <a:lnTo>
                            <a:pt x="10" y="21"/>
                          </a:lnTo>
                          <a:lnTo>
                            <a:pt x="10" y="21"/>
                          </a:lnTo>
                          <a:lnTo>
                            <a:pt x="10" y="21"/>
                          </a:lnTo>
                          <a:lnTo>
                            <a:pt x="12" y="21"/>
                          </a:lnTo>
                          <a:lnTo>
                            <a:pt x="12" y="21"/>
                          </a:lnTo>
                          <a:lnTo>
                            <a:pt x="12" y="19"/>
                          </a:lnTo>
                          <a:lnTo>
                            <a:pt x="12" y="19"/>
                          </a:lnTo>
                          <a:lnTo>
                            <a:pt x="12" y="12"/>
                          </a:lnTo>
                          <a:lnTo>
                            <a:pt x="12" y="12"/>
                          </a:lnTo>
                          <a:lnTo>
                            <a:pt x="12" y="9"/>
                          </a:lnTo>
                          <a:lnTo>
                            <a:pt x="12" y="9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10" y="5"/>
                          </a:lnTo>
                          <a:lnTo>
                            <a:pt x="10" y="5"/>
                          </a:lnTo>
                          <a:lnTo>
                            <a:pt x="10" y="5"/>
                          </a:lnTo>
                          <a:lnTo>
                            <a:pt x="10" y="5"/>
                          </a:lnTo>
                          <a:lnTo>
                            <a:pt x="12" y="0"/>
                          </a:lnTo>
                          <a:lnTo>
                            <a:pt x="12" y="0"/>
                          </a:lnTo>
                          <a:lnTo>
                            <a:pt x="15" y="0"/>
                          </a:lnTo>
                          <a:lnTo>
                            <a:pt x="15" y="0"/>
                          </a:lnTo>
                          <a:lnTo>
                            <a:pt x="15" y="2"/>
                          </a:lnTo>
                          <a:lnTo>
                            <a:pt x="15" y="2"/>
                          </a:lnTo>
                          <a:lnTo>
                            <a:pt x="12" y="2"/>
                          </a:lnTo>
                          <a:lnTo>
                            <a:pt x="12" y="2"/>
                          </a:lnTo>
                          <a:lnTo>
                            <a:pt x="12" y="5"/>
                          </a:lnTo>
                          <a:lnTo>
                            <a:pt x="12" y="5"/>
                          </a:lnTo>
                          <a:lnTo>
                            <a:pt x="15" y="16"/>
                          </a:lnTo>
                          <a:lnTo>
                            <a:pt x="15" y="16"/>
                          </a:lnTo>
                          <a:lnTo>
                            <a:pt x="15" y="21"/>
                          </a:lnTo>
                          <a:lnTo>
                            <a:pt x="15" y="21"/>
                          </a:lnTo>
                          <a:lnTo>
                            <a:pt x="17" y="21"/>
                          </a:lnTo>
                          <a:lnTo>
                            <a:pt x="17" y="21"/>
                          </a:lnTo>
                          <a:lnTo>
                            <a:pt x="19" y="23"/>
                          </a:lnTo>
                          <a:lnTo>
                            <a:pt x="19" y="23"/>
                          </a:lnTo>
                          <a:lnTo>
                            <a:pt x="19" y="26"/>
                          </a:lnTo>
                          <a:lnTo>
                            <a:pt x="19" y="26"/>
                          </a:lnTo>
                          <a:lnTo>
                            <a:pt x="22" y="28"/>
                          </a:lnTo>
                          <a:lnTo>
                            <a:pt x="22" y="28"/>
                          </a:lnTo>
                          <a:lnTo>
                            <a:pt x="19" y="31"/>
                          </a:lnTo>
                          <a:lnTo>
                            <a:pt x="19" y="31"/>
                          </a:lnTo>
                          <a:lnTo>
                            <a:pt x="19" y="31"/>
                          </a:lnTo>
                          <a:lnTo>
                            <a:pt x="19" y="31"/>
                          </a:lnTo>
                          <a:close/>
                        </a:path>
                      </a:pathLst>
                    </a:custGeom>
                    <a:solidFill>
                      <a:srgbClr val="0070C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74" name="Freeform 1197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951" y="1773"/>
                      <a:ext cx="14" cy="5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2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3" y="0"/>
                        </a:cxn>
                        <a:cxn ang="0">
                          <a:pos x="3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10" y="0"/>
                        </a:cxn>
                        <a:cxn ang="0">
                          <a:pos x="10" y="0"/>
                        </a:cxn>
                        <a:cxn ang="0">
                          <a:pos x="12" y="0"/>
                        </a:cxn>
                        <a:cxn ang="0">
                          <a:pos x="12" y="0"/>
                        </a:cxn>
                        <a:cxn ang="0">
                          <a:pos x="12" y="2"/>
                        </a:cxn>
                        <a:cxn ang="0">
                          <a:pos x="12" y="2"/>
                        </a:cxn>
                        <a:cxn ang="0">
                          <a:pos x="12" y="4"/>
                        </a:cxn>
                        <a:cxn ang="0">
                          <a:pos x="12" y="4"/>
                        </a:cxn>
                        <a:cxn ang="0">
                          <a:pos x="3" y="2"/>
                        </a:cxn>
                        <a:cxn ang="0">
                          <a:pos x="3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</a:cxnLst>
                      <a:rect l="0" t="0" r="r" b="b"/>
                      <a:pathLst>
                        <a:path w="12" h="4">
                          <a:moveTo>
                            <a:pt x="0" y="2"/>
                          </a:move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3" y="0"/>
                          </a:lnTo>
                          <a:lnTo>
                            <a:pt x="3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10" y="0"/>
                          </a:lnTo>
                          <a:lnTo>
                            <a:pt x="10" y="0"/>
                          </a:lnTo>
                          <a:lnTo>
                            <a:pt x="12" y="0"/>
                          </a:lnTo>
                          <a:lnTo>
                            <a:pt x="12" y="0"/>
                          </a:lnTo>
                          <a:lnTo>
                            <a:pt x="12" y="2"/>
                          </a:lnTo>
                          <a:lnTo>
                            <a:pt x="12" y="2"/>
                          </a:lnTo>
                          <a:lnTo>
                            <a:pt x="12" y="4"/>
                          </a:lnTo>
                          <a:lnTo>
                            <a:pt x="12" y="4"/>
                          </a:lnTo>
                          <a:lnTo>
                            <a:pt x="3" y="2"/>
                          </a:lnTo>
                          <a:lnTo>
                            <a:pt x="3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75" name="Freeform 1198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970" y="1781"/>
                      <a:ext cx="11" cy="2"/>
                    </a:xfrm>
                    <a:custGeom>
                      <a:avLst/>
                      <a:gdLst/>
                      <a:ahLst/>
                      <a:cxnLst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9" y="2"/>
                        </a:cxn>
                        <a:cxn ang="0">
                          <a:pos x="9" y="2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</a:cxnLst>
                      <a:rect l="0" t="0" r="r" b="b"/>
                      <a:pathLst>
                        <a:path w="9" h="2">
                          <a:moveTo>
                            <a:pt x="7" y="2"/>
                          </a:move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9" y="2"/>
                          </a:lnTo>
                          <a:lnTo>
                            <a:pt x="9" y="2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grpSp>
                <p:nvGrpSpPr>
                  <p:cNvPr id="394" name="Group 1199"/>
                  <p:cNvGrpSpPr>
                    <a:grpSpLocks/>
                  </p:cNvGrpSpPr>
                  <p:nvPr/>
                </p:nvGrpSpPr>
                <p:grpSpPr bwMode="auto">
                  <a:xfrm>
                    <a:off x="2074863" y="2362200"/>
                    <a:ext cx="407987" cy="158750"/>
                    <a:chOff x="1497" y="1966"/>
                    <a:chExt cx="277" cy="107"/>
                  </a:xfrm>
                  <a:grpFill/>
                  <a:effectLst/>
                </p:grpSpPr>
                <p:sp>
                  <p:nvSpPr>
                    <p:cNvPr id="437" name="Freeform 1200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747" y="1966"/>
                      <a:ext cx="27" cy="16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"/>
                        </a:cxn>
                        <a:cxn ang="0">
                          <a:pos x="0" y="14"/>
                        </a:cxn>
                        <a:cxn ang="0">
                          <a:pos x="0" y="14"/>
                        </a:cxn>
                        <a:cxn ang="0">
                          <a:pos x="0" y="11"/>
                        </a:cxn>
                        <a:cxn ang="0">
                          <a:pos x="0" y="11"/>
                        </a:cxn>
                        <a:cxn ang="0">
                          <a:pos x="2" y="11"/>
                        </a:cxn>
                        <a:cxn ang="0">
                          <a:pos x="2" y="11"/>
                        </a:cxn>
                        <a:cxn ang="0">
                          <a:pos x="2" y="11"/>
                        </a:cxn>
                        <a:cxn ang="0">
                          <a:pos x="2" y="11"/>
                        </a:cxn>
                        <a:cxn ang="0">
                          <a:pos x="5" y="9"/>
                        </a:cxn>
                        <a:cxn ang="0">
                          <a:pos x="5" y="9"/>
                        </a:cxn>
                        <a:cxn ang="0">
                          <a:pos x="5" y="9"/>
                        </a:cxn>
                        <a:cxn ang="0">
                          <a:pos x="5" y="9"/>
                        </a:cxn>
                        <a:cxn ang="0">
                          <a:pos x="7" y="9"/>
                        </a:cxn>
                        <a:cxn ang="0">
                          <a:pos x="7" y="9"/>
                        </a:cxn>
                        <a:cxn ang="0">
                          <a:pos x="7" y="9"/>
                        </a:cxn>
                        <a:cxn ang="0">
                          <a:pos x="7" y="9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12" y="7"/>
                        </a:cxn>
                        <a:cxn ang="0">
                          <a:pos x="12" y="7"/>
                        </a:cxn>
                        <a:cxn ang="0">
                          <a:pos x="16" y="2"/>
                        </a:cxn>
                        <a:cxn ang="0">
                          <a:pos x="16" y="2"/>
                        </a:cxn>
                        <a:cxn ang="0">
                          <a:pos x="16" y="2"/>
                        </a:cxn>
                        <a:cxn ang="0">
                          <a:pos x="16" y="2"/>
                        </a:cxn>
                        <a:cxn ang="0">
                          <a:pos x="19" y="0"/>
                        </a:cxn>
                        <a:cxn ang="0">
                          <a:pos x="19" y="0"/>
                        </a:cxn>
                        <a:cxn ang="0">
                          <a:pos x="19" y="0"/>
                        </a:cxn>
                        <a:cxn ang="0">
                          <a:pos x="19" y="0"/>
                        </a:cxn>
                        <a:cxn ang="0">
                          <a:pos x="19" y="0"/>
                        </a:cxn>
                        <a:cxn ang="0">
                          <a:pos x="19" y="0"/>
                        </a:cxn>
                        <a:cxn ang="0">
                          <a:pos x="21" y="0"/>
                        </a:cxn>
                        <a:cxn ang="0">
                          <a:pos x="21" y="0"/>
                        </a:cxn>
                        <a:cxn ang="0">
                          <a:pos x="23" y="2"/>
                        </a:cxn>
                        <a:cxn ang="0">
                          <a:pos x="23" y="2"/>
                        </a:cxn>
                        <a:cxn ang="0">
                          <a:pos x="23" y="2"/>
                        </a:cxn>
                        <a:cxn ang="0">
                          <a:pos x="23" y="2"/>
                        </a:cxn>
                        <a:cxn ang="0">
                          <a:pos x="23" y="2"/>
                        </a:cxn>
                        <a:cxn ang="0">
                          <a:pos x="23" y="2"/>
                        </a:cxn>
                        <a:cxn ang="0">
                          <a:pos x="23" y="2"/>
                        </a:cxn>
                        <a:cxn ang="0">
                          <a:pos x="23" y="2"/>
                        </a:cxn>
                        <a:cxn ang="0">
                          <a:pos x="16" y="7"/>
                        </a:cxn>
                        <a:cxn ang="0">
                          <a:pos x="16" y="7"/>
                        </a:cxn>
                        <a:cxn ang="0">
                          <a:pos x="14" y="9"/>
                        </a:cxn>
                        <a:cxn ang="0">
                          <a:pos x="14" y="9"/>
                        </a:cxn>
                        <a:cxn ang="0">
                          <a:pos x="9" y="9"/>
                        </a:cxn>
                        <a:cxn ang="0">
                          <a:pos x="9" y="9"/>
                        </a:cxn>
                        <a:cxn ang="0">
                          <a:pos x="2" y="14"/>
                        </a:cxn>
                        <a:cxn ang="0">
                          <a:pos x="2" y="14"/>
                        </a:cxn>
                        <a:cxn ang="0">
                          <a:pos x="2" y="14"/>
                        </a:cxn>
                        <a:cxn ang="0">
                          <a:pos x="2" y="14"/>
                        </a:cxn>
                        <a:cxn ang="0">
                          <a:pos x="0" y="14"/>
                        </a:cxn>
                        <a:cxn ang="0">
                          <a:pos x="0" y="14"/>
                        </a:cxn>
                        <a:cxn ang="0">
                          <a:pos x="0" y="14"/>
                        </a:cxn>
                        <a:cxn ang="0">
                          <a:pos x="0" y="14"/>
                        </a:cxn>
                      </a:cxnLst>
                      <a:rect l="0" t="0" r="r" b="b"/>
                      <a:pathLst>
                        <a:path w="23" h="14">
                          <a:moveTo>
                            <a:pt x="0" y="14"/>
                          </a:moveTo>
                          <a:lnTo>
                            <a:pt x="0" y="14"/>
                          </a:lnTo>
                          <a:lnTo>
                            <a:pt x="0" y="14"/>
                          </a:lnTo>
                          <a:lnTo>
                            <a:pt x="0" y="11"/>
                          </a:lnTo>
                          <a:lnTo>
                            <a:pt x="0" y="11"/>
                          </a:lnTo>
                          <a:lnTo>
                            <a:pt x="2" y="11"/>
                          </a:lnTo>
                          <a:lnTo>
                            <a:pt x="2" y="11"/>
                          </a:lnTo>
                          <a:lnTo>
                            <a:pt x="2" y="11"/>
                          </a:lnTo>
                          <a:lnTo>
                            <a:pt x="2" y="11"/>
                          </a:lnTo>
                          <a:lnTo>
                            <a:pt x="5" y="9"/>
                          </a:lnTo>
                          <a:lnTo>
                            <a:pt x="5" y="9"/>
                          </a:lnTo>
                          <a:lnTo>
                            <a:pt x="5" y="9"/>
                          </a:lnTo>
                          <a:lnTo>
                            <a:pt x="5" y="9"/>
                          </a:lnTo>
                          <a:lnTo>
                            <a:pt x="7" y="9"/>
                          </a:lnTo>
                          <a:lnTo>
                            <a:pt x="7" y="9"/>
                          </a:lnTo>
                          <a:lnTo>
                            <a:pt x="7" y="9"/>
                          </a:lnTo>
                          <a:lnTo>
                            <a:pt x="7" y="9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12" y="7"/>
                          </a:lnTo>
                          <a:lnTo>
                            <a:pt x="12" y="7"/>
                          </a:lnTo>
                          <a:lnTo>
                            <a:pt x="16" y="2"/>
                          </a:lnTo>
                          <a:lnTo>
                            <a:pt x="16" y="2"/>
                          </a:lnTo>
                          <a:lnTo>
                            <a:pt x="16" y="2"/>
                          </a:lnTo>
                          <a:lnTo>
                            <a:pt x="16" y="2"/>
                          </a:lnTo>
                          <a:lnTo>
                            <a:pt x="19" y="0"/>
                          </a:lnTo>
                          <a:lnTo>
                            <a:pt x="19" y="0"/>
                          </a:lnTo>
                          <a:lnTo>
                            <a:pt x="19" y="0"/>
                          </a:lnTo>
                          <a:lnTo>
                            <a:pt x="19" y="0"/>
                          </a:lnTo>
                          <a:lnTo>
                            <a:pt x="19" y="0"/>
                          </a:lnTo>
                          <a:lnTo>
                            <a:pt x="19" y="0"/>
                          </a:lnTo>
                          <a:lnTo>
                            <a:pt x="21" y="0"/>
                          </a:lnTo>
                          <a:lnTo>
                            <a:pt x="21" y="0"/>
                          </a:lnTo>
                          <a:lnTo>
                            <a:pt x="23" y="2"/>
                          </a:lnTo>
                          <a:lnTo>
                            <a:pt x="23" y="2"/>
                          </a:lnTo>
                          <a:lnTo>
                            <a:pt x="23" y="2"/>
                          </a:lnTo>
                          <a:lnTo>
                            <a:pt x="23" y="2"/>
                          </a:lnTo>
                          <a:lnTo>
                            <a:pt x="23" y="2"/>
                          </a:lnTo>
                          <a:lnTo>
                            <a:pt x="23" y="2"/>
                          </a:lnTo>
                          <a:lnTo>
                            <a:pt x="23" y="2"/>
                          </a:lnTo>
                          <a:lnTo>
                            <a:pt x="23" y="2"/>
                          </a:lnTo>
                          <a:lnTo>
                            <a:pt x="16" y="7"/>
                          </a:lnTo>
                          <a:lnTo>
                            <a:pt x="16" y="7"/>
                          </a:lnTo>
                          <a:lnTo>
                            <a:pt x="14" y="9"/>
                          </a:lnTo>
                          <a:lnTo>
                            <a:pt x="14" y="9"/>
                          </a:lnTo>
                          <a:lnTo>
                            <a:pt x="9" y="9"/>
                          </a:lnTo>
                          <a:lnTo>
                            <a:pt x="9" y="9"/>
                          </a:lnTo>
                          <a:lnTo>
                            <a:pt x="2" y="14"/>
                          </a:lnTo>
                          <a:lnTo>
                            <a:pt x="2" y="14"/>
                          </a:lnTo>
                          <a:lnTo>
                            <a:pt x="2" y="14"/>
                          </a:lnTo>
                          <a:lnTo>
                            <a:pt x="2" y="14"/>
                          </a:lnTo>
                          <a:lnTo>
                            <a:pt x="0" y="14"/>
                          </a:lnTo>
                          <a:lnTo>
                            <a:pt x="0" y="14"/>
                          </a:lnTo>
                          <a:lnTo>
                            <a:pt x="0" y="14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38" name="Freeform 1201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712" y="1977"/>
                      <a:ext cx="24" cy="13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0"/>
                        </a:cxn>
                        <a:cxn ang="0">
                          <a:pos x="0" y="10"/>
                        </a:cxn>
                        <a:cxn ang="0">
                          <a:pos x="0" y="10"/>
                        </a:cxn>
                        <a:cxn ang="0">
                          <a:pos x="0" y="10"/>
                        </a:cxn>
                        <a:cxn ang="0">
                          <a:pos x="0" y="10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10" y="2"/>
                        </a:cxn>
                        <a:cxn ang="0">
                          <a:pos x="10" y="2"/>
                        </a:cxn>
                        <a:cxn ang="0">
                          <a:pos x="12" y="2"/>
                        </a:cxn>
                        <a:cxn ang="0">
                          <a:pos x="12" y="2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9" y="0"/>
                        </a:cxn>
                        <a:cxn ang="0">
                          <a:pos x="19" y="0"/>
                        </a:cxn>
                        <a:cxn ang="0">
                          <a:pos x="19" y="0"/>
                        </a:cxn>
                        <a:cxn ang="0">
                          <a:pos x="19" y="0"/>
                        </a:cxn>
                        <a:cxn ang="0">
                          <a:pos x="21" y="0"/>
                        </a:cxn>
                        <a:cxn ang="0">
                          <a:pos x="21" y="0"/>
                        </a:cxn>
                        <a:cxn ang="0">
                          <a:pos x="21" y="0"/>
                        </a:cxn>
                        <a:cxn ang="0">
                          <a:pos x="21" y="0"/>
                        </a:cxn>
                        <a:cxn ang="0">
                          <a:pos x="21" y="2"/>
                        </a:cxn>
                        <a:cxn ang="0">
                          <a:pos x="21" y="2"/>
                        </a:cxn>
                        <a:cxn ang="0">
                          <a:pos x="21" y="2"/>
                        </a:cxn>
                        <a:cxn ang="0">
                          <a:pos x="21" y="2"/>
                        </a:cxn>
                        <a:cxn ang="0">
                          <a:pos x="19" y="2"/>
                        </a:cxn>
                        <a:cxn ang="0">
                          <a:pos x="19" y="2"/>
                        </a:cxn>
                        <a:cxn ang="0">
                          <a:pos x="17" y="2"/>
                        </a:cxn>
                        <a:cxn ang="0">
                          <a:pos x="17" y="2"/>
                        </a:cxn>
                        <a:cxn ang="0">
                          <a:pos x="14" y="5"/>
                        </a:cxn>
                        <a:cxn ang="0">
                          <a:pos x="14" y="5"/>
                        </a:cxn>
                        <a:cxn ang="0">
                          <a:pos x="10" y="7"/>
                        </a:cxn>
                        <a:cxn ang="0">
                          <a:pos x="10" y="7"/>
                        </a:cxn>
                        <a:cxn ang="0">
                          <a:pos x="5" y="10"/>
                        </a:cxn>
                        <a:cxn ang="0">
                          <a:pos x="5" y="10"/>
                        </a:cxn>
                        <a:cxn ang="0">
                          <a:pos x="5" y="10"/>
                        </a:cxn>
                        <a:cxn ang="0">
                          <a:pos x="5" y="10"/>
                        </a:cxn>
                        <a:cxn ang="0">
                          <a:pos x="2" y="12"/>
                        </a:cxn>
                        <a:cxn ang="0">
                          <a:pos x="2" y="12"/>
                        </a:cxn>
                        <a:cxn ang="0">
                          <a:pos x="0" y="10"/>
                        </a:cxn>
                        <a:cxn ang="0">
                          <a:pos x="0" y="10"/>
                        </a:cxn>
                        <a:cxn ang="0">
                          <a:pos x="0" y="10"/>
                        </a:cxn>
                        <a:cxn ang="0">
                          <a:pos x="0" y="10"/>
                        </a:cxn>
                      </a:cxnLst>
                      <a:rect l="0" t="0" r="r" b="b"/>
                      <a:pathLst>
                        <a:path w="21" h="12">
                          <a:moveTo>
                            <a:pt x="0" y="10"/>
                          </a:moveTo>
                          <a:lnTo>
                            <a:pt x="0" y="10"/>
                          </a:lnTo>
                          <a:lnTo>
                            <a:pt x="0" y="10"/>
                          </a:lnTo>
                          <a:lnTo>
                            <a:pt x="0" y="10"/>
                          </a:lnTo>
                          <a:lnTo>
                            <a:pt x="0" y="10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10" y="2"/>
                          </a:lnTo>
                          <a:lnTo>
                            <a:pt x="10" y="2"/>
                          </a:lnTo>
                          <a:lnTo>
                            <a:pt x="12" y="2"/>
                          </a:lnTo>
                          <a:lnTo>
                            <a:pt x="12" y="2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9" y="0"/>
                          </a:lnTo>
                          <a:lnTo>
                            <a:pt x="19" y="0"/>
                          </a:lnTo>
                          <a:lnTo>
                            <a:pt x="19" y="0"/>
                          </a:lnTo>
                          <a:lnTo>
                            <a:pt x="19" y="0"/>
                          </a:lnTo>
                          <a:lnTo>
                            <a:pt x="21" y="0"/>
                          </a:lnTo>
                          <a:lnTo>
                            <a:pt x="21" y="0"/>
                          </a:lnTo>
                          <a:lnTo>
                            <a:pt x="21" y="0"/>
                          </a:lnTo>
                          <a:lnTo>
                            <a:pt x="21" y="0"/>
                          </a:lnTo>
                          <a:lnTo>
                            <a:pt x="21" y="2"/>
                          </a:lnTo>
                          <a:lnTo>
                            <a:pt x="21" y="2"/>
                          </a:lnTo>
                          <a:lnTo>
                            <a:pt x="21" y="2"/>
                          </a:lnTo>
                          <a:lnTo>
                            <a:pt x="21" y="2"/>
                          </a:lnTo>
                          <a:lnTo>
                            <a:pt x="19" y="2"/>
                          </a:lnTo>
                          <a:lnTo>
                            <a:pt x="19" y="2"/>
                          </a:lnTo>
                          <a:lnTo>
                            <a:pt x="17" y="2"/>
                          </a:lnTo>
                          <a:lnTo>
                            <a:pt x="17" y="2"/>
                          </a:lnTo>
                          <a:lnTo>
                            <a:pt x="14" y="5"/>
                          </a:lnTo>
                          <a:lnTo>
                            <a:pt x="14" y="5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5" y="10"/>
                          </a:lnTo>
                          <a:lnTo>
                            <a:pt x="5" y="10"/>
                          </a:lnTo>
                          <a:lnTo>
                            <a:pt x="5" y="10"/>
                          </a:lnTo>
                          <a:lnTo>
                            <a:pt x="5" y="10"/>
                          </a:lnTo>
                          <a:lnTo>
                            <a:pt x="2" y="12"/>
                          </a:lnTo>
                          <a:lnTo>
                            <a:pt x="2" y="12"/>
                          </a:lnTo>
                          <a:lnTo>
                            <a:pt x="0" y="10"/>
                          </a:lnTo>
                          <a:lnTo>
                            <a:pt x="0" y="10"/>
                          </a:lnTo>
                          <a:lnTo>
                            <a:pt x="0" y="10"/>
                          </a:lnTo>
                          <a:lnTo>
                            <a:pt x="0" y="10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39" name="Freeform 1202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1497" y="2044"/>
                      <a:ext cx="54" cy="29"/>
                    </a:xfrm>
                    <a:custGeom>
                      <a:avLst/>
                      <a:gdLst/>
                      <a:ahLst/>
                      <a:cxnLst>
                        <a:cxn ang="0">
                          <a:pos x="3" y="24"/>
                        </a:cxn>
                        <a:cxn ang="0">
                          <a:pos x="3" y="24"/>
                        </a:cxn>
                        <a:cxn ang="0">
                          <a:pos x="5" y="21"/>
                        </a:cxn>
                        <a:cxn ang="0">
                          <a:pos x="5" y="17"/>
                        </a:cxn>
                        <a:cxn ang="0">
                          <a:pos x="5" y="14"/>
                        </a:cxn>
                        <a:cxn ang="0">
                          <a:pos x="5" y="10"/>
                        </a:cxn>
                        <a:cxn ang="0">
                          <a:pos x="5" y="10"/>
                        </a:cxn>
                        <a:cxn ang="0">
                          <a:pos x="3" y="7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7" y="3"/>
                        </a:cxn>
                        <a:cxn ang="0">
                          <a:pos x="7" y="3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7" y="3"/>
                        </a:cxn>
                        <a:cxn ang="0">
                          <a:pos x="5" y="3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7" y="14"/>
                        </a:cxn>
                        <a:cxn ang="0">
                          <a:pos x="10" y="21"/>
                        </a:cxn>
                        <a:cxn ang="0">
                          <a:pos x="14" y="19"/>
                        </a:cxn>
                        <a:cxn ang="0">
                          <a:pos x="17" y="19"/>
                        </a:cxn>
                        <a:cxn ang="0">
                          <a:pos x="24" y="14"/>
                        </a:cxn>
                        <a:cxn ang="0">
                          <a:pos x="21" y="12"/>
                        </a:cxn>
                        <a:cxn ang="0">
                          <a:pos x="26" y="10"/>
                        </a:cxn>
                        <a:cxn ang="0">
                          <a:pos x="33" y="10"/>
                        </a:cxn>
                        <a:cxn ang="0">
                          <a:pos x="40" y="10"/>
                        </a:cxn>
                        <a:cxn ang="0">
                          <a:pos x="45" y="10"/>
                        </a:cxn>
                        <a:cxn ang="0">
                          <a:pos x="47" y="10"/>
                        </a:cxn>
                        <a:cxn ang="0">
                          <a:pos x="47" y="12"/>
                        </a:cxn>
                        <a:cxn ang="0">
                          <a:pos x="47" y="12"/>
                        </a:cxn>
                        <a:cxn ang="0">
                          <a:pos x="47" y="14"/>
                        </a:cxn>
                        <a:cxn ang="0">
                          <a:pos x="47" y="17"/>
                        </a:cxn>
                        <a:cxn ang="0">
                          <a:pos x="45" y="19"/>
                        </a:cxn>
                        <a:cxn ang="0">
                          <a:pos x="43" y="19"/>
                        </a:cxn>
                        <a:cxn ang="0">
                          <a:pos x="40" y="21"/>
                        </a:cxn>
                        <a:cxn ang="0">
                          <a:pos x="38" y="19"/>
                        </a:cxn>
                        <a:cxn ang="0">
                          <a:pos x="36" y="19"/>
                        </a:cxn>
                        <a:cxn ang="0">
                          <a:pos x="33" y="19"/>
                        </a:cxn>
                        <a:cxn ang="0">
                          <a:pos x="29" y="19"/>
                        </a:cxn>
                        <a:cxn ang="0">
                          <a:pos x="26" y="21"/>
                        </a:cxn>
                        <a:cxn ang="0">
                          <a:pos x="26" y="21"/>
                        </a:cxn>
                        <a:cxn ang="0">
                          <a:pos x="21" y="26"/>
                        </a:cxn>
                        <a:cxn ang="0">
                          <a:pos x="21" y="26"/>
                        </a:cxn>
                        <a:cxn ang="0">
                          <a:pos x="19" y="26"/>
                        </a:cxn>
                        <a:cxn ang="0">
                          <a:pos x="17" y="26"/>
                        </a:cxn>
                        <a:cxn ang="0">
                          <a:pos x="17" y="24"/>
                        </a:cxn>
                        <a:cxn ang="0">
                          <a:pos x="14" y="24"/>
                        </a:cxn>
                        <a:cxn ang="0">
                          <a:pos x="10" y="24"/>
                        </a:cxn>
                        <a:cxn ang="0">
                          <a:pos x="10" y="24"/>
                        </a:cxn>
                        <a:cxn ang="0">
                          <a:pos x="5" y="26"/>
                        </a:cxn>
                        <a:cxn ang="0">
                          <a:pos x="5" y="26"/>
                        </a:cxn>
                        <a:cxn ang="0">
                          <a:pos x="5" y="26"/>
                        </a:cxn>
                      </a:cxnLst>
                      <a:rect l="0" t="0" r="r" b="b"/>
                      <a:pathLst>
                        <a:path w="47" h="26">
                          <a:moveTo>
                            <a:pt x="5" y="26"/>
                          </a:moveTo>
                          <a:lnTo>
                            <a:pt x="3" y="24"/>
                          </a:lnTo>
                          <a:lnTo>
                            <a:pt x="3" y="24"/>
                          </a:lnTo>
                          <a:lnTo>
                            <a:pt x="3" y="24"/>
                          </a:lnTo>
                          <a:lnTo>
                            <a:pt x="3" y="24"/>
                          </a:lnTo>
                          <a:lnTo>
                            <a:pt x="5" y="21"/>
                          </a:lnTo>
                          <a:lnTo>
                            <a:pt x="5" y="21"/>
                          </a:lnTo>
                          <a:lnTo>
                            <a:pt x="5" y="17"/>
                          </a:lnTo>
                          <a:lnTo>
                            <a:pt x="5" y="17"/>
                          </a:lnTo>
                          <a:lnTo>
                            <a:pt x="5" y="14"/>
                          </a:lnTo>
                          <a:lnTo>
                            <a:pt x="5" y="14"/>
                          </a:lnTo>
                          <a:lnTo>
                            <a:pt x="5" y="10"/>
                          </a:lnTo>
                          <a:lnTo>
                            <a:pt x="5" y="10"/>
                          </a:lnTo>
                          <a:lnTo>
                            <a:pt x="5" y="10"/>
                          </a:lnTo>
                          <a:lnTo>
                            <a:pt x="5" y="10"/>
                          </a:lnTo>
                          <a:lnTo>
                            <a:pt x="3" y="7"/>
                          </a:lnTo>
                          <a:lnTo>
                            <a:pt x="3" y="7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7" y="3"/>
                          </a:lnTo>
                          <a:lnTo>
                            <a:pt x="7" y="3"/>
                          </a:lnTo>
                          <a:lnTo>
                            <a:pt x="7" y="3"/>
                          </a:lnTo>
                          <a:lnTo>
                            <a:pt x="7" y="3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7" y="3"/>
                          </a:lnTo>
                          <a:lnTo>
                            <a:pt x="7" y="3"/>
                          </a:lnTo>
                          <a:lnTo>
                            <a:pt x="5" y="3"/>
                          </a:lnTo>
                          <a:lnTo>
                            <a:pt x="5" y="3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7" y="14"/>
                          </a:lnTo>
                          <a:lnTo>
                            <a:pt x="7" y="14"/>
                          </a:lnTo>
                          <a:lnTo>
                            <a:pt x="10" y="21"/>
                          </a:lnTo>
                          <a:lnTo>
                            <a:pt x="10" y="21"/>
                          </a:lnTo>
                          <a:lnTo>
                            <a:pt x="14" y="19"/>
                          </a:lnTo>
                          <a:lnTo>
                            <a:pt x="14" y="19"/>
                          </a:lnTo>
                          <a:lnTo>
                            <a:pt x="17" y="19"/>
                          </a:lnTo>
                          <a:lnTo>
                            <a:pt x="17" y="19"/>
                          </a:lnTo>
                          <a:lnTo>
                            <a:pt x="24" y="14"/>
                          </a:lnTo>
                          <a:lnTo>
                            <a:pt x="24" y="14"/>
                          </a:lnTo>
                          <a:lnTo>
                            <a:pt x="21" y="12"/>
                          </a:lnTo>
                          <a:lnTo>
                            <a:pt x="21" y="12"/>
                          </a:lnTo>
                          <a:lnTo>
                            <a:pt x="26" y="10"/>
                          </a:lnTo>
                          <a:lnTo>
                            <a:pt x="26" y="10"/>
                          </a:lnTo>
                          <a:lnTo>
                            <a:pt x="33" y="10"/>
                          </a:lnTo>
                          <a:lnTo>
                            <a:pt x="33" y="10"/>
                          </a:lnTo>
                          <a:lnTo>
                            <a:pt x="40" y="10"/>
                          </a:lnTo>
                          <a:lnTo>
                            <a:pt x="40" y="10"/>
                          </a:lnTo>
                          <a:lnTo>
                            <a:pt x="45" y="10"/>
                          </a:lnTo>
                          <a:lnTo>
                            <a:pt x="45" y="10"/>
                          </a:lnTo>
                          <a:lnTo>
                            <a:pt x="47" y="10"/>
                          </a:lnTo>
                          <a:lnTo>
                            <a:pt x="47" y="10"/>
                          </a:lnTo>
                          <a:lnTo>
                            <a:pt x="47" y="12"/>
                          </a:lnTo>
                          <a:lnTo>
                            <a:pt x="47" y="12"/>
                          </a:lnTo>
                          <a:lnTo>
                            <a:pt x="47" y="12"/>
                          </a:lnTo>
                          <a:lnTo>
                            <a:pt x="47" y="12"/>
                          </a:lnTo>
                          <a:lnTo>
                            <a:pt x="47" y="14"/>
                          </a:lnTo>
                          <a:lnTo>
                            <a:pt x="47" y="14"/>
                          </a:lnTo>
                          <a:lnTo>
                            <a:pt x="47" y="17"/>
                          </a:lnTo>
                          <a:lnTo>
                            <a:pt x="47" y="17"/>
                          </a:lnTo>
                          <a:lnTo>
                            <a:pt x="45" y="19"/>
                          </a:lnTo>
                          <a:lnTo>
                            <a:pt x="45" y="19"/>
                          </a:lnTo>
                          <a:lnTo>
                            <a:pt x="43" y="19"/>
                          </a:lnTo>
                          <a:lnTo>
                            <a:pt x="43" y="19"/>
                          </a:lnTo>
                          <a:lnTo>
                            <a:pt x="40" y="21"/>
                          </a:lnTo>
                          <a:lnTo>
                            <a:pt x="40" y="21"/>
                          </a:lnTo>
                          <a:lnTo>
                            <a:pt x="38" y="19"/>
                          </a:lnTo>
                          <a:lnTo>
                            <a:pt x="38" y="19"/>
                          </a:lnTo>
                          <a:lnTo>
                            <a:pt x="36" y="19"/>
                          </a:lnTo>
                          <a:lnTo>
                            <a:pt x="36" y="19"/>
                          </a:lnTo>
                          <a:lnTo>
                            <a:pt x="33" y="19"/>
                          </a:lnTo>
                          <a:lnTo>
                            <a:pt x="33" y="19"/>
                          </a:lnTo>
                          <a:lnTo>
                            <a:pt x="29" y="19"/>
                          </a:lnTo>
                          <a:lnTo>
                            <a:pt x="29" y="19"/>
                          </a:lnTo>
                          <a:lnTo>
                            <a:pt x="26" y="21"/>
                          </a:lnTo>
                          <a:lnTo>
                            <a:pt x="26" y="21"/>
                          </a:lnTo>
                          <a:lnTo>
                            <a:pt x="26" y="21"/>
                          </a:lnTo>
                          <a:lnTo>
                            <a:pt x="26" y="21"/>
                          </a:lnTo>
                          <a:lnTo>
                            <a:pt x="21" y="26"/>
                          </a:lnTo>
                          <a:lnTo>
                            <a:pt x="21" y="26"/>
                          </a:lnTo>
                          <a:lnTo>
                            <a:pt x="21" y="26"/>
                          </a:lnTo>
                          <a:lnTo>
                            <a:pt x="21" y="26"/>
                          </a:lnTo>
                          <a:lnTo>
                            <a:pt x="19" y="26"/>
                          </a:lnTo>
                          <a:lnTo>
                            <a:pt x="19" y="26"/>
                          </a:lnTo>
                          <a:lnTo>
                            <a:pt x="17" y="26"/>
                          </a:lnTo>
                          <a:lnTo>
                            <a:pt x="17" y="26"/>
                          </a:lnTo>
                          <a:lnTo>
                            <a:pt x="17" y="24"/>
                          </a:lnTo>
                          <a:lnTo>
                            <a:pt x="17" y="24"/>
                          </a:lnTo>
                          <a:lnTo>
                            <a:pt x="14" y="24"/>
                          </a:lnTo>
                          <a:lnTo>
                            <a:pt x="14" y="24"/>
                          </a:lnTo>
                          <a:lnTo>
                            <a:pt x="10" y="24"/>
                          </a:lnTo>
                          <a:lnTo>
                            <a:pt x="10" y="24"/>
                          </a:lnTo>
                          <a:lnTo>
                            <a:pt x="10" y="24"/>
                          </a:lnTo>
                          <a:lnTo>
                            <a:pt x="10" y="24"/>
                          </a:lnTo>
                          <a:lnTo>
                            <a:pt x="5" y="26"/>
                          </a:lnTo>
                          <a:lnTo>
                            <a:pt x="5" y="26"/>
                          </a:lnTo>
                          <a:lnTo>
                            <a:pt x="5" y="26"/>
                          </a:lnTo>
                          <a:lnTo>
                            <a:pt x="5" y="26"/>
                          </a:lnTo>
                          <a:lnTo>
                            <a:pt x="5" y="26"/>
                          </a:lnTo>
                          <a:lnTo>
                            <a:pt x="5" y="26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395" name="Freeform 1203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2813050" y="2754313"/>
                    <a:ext cx="528637" cy="260350"/>
                  </a:xfrm>
                  <a:custGeom>
                    <a:avLst/>
                    <a:gdLst/>
                    <a:ahLst/>
                    <a:cxnLst>
                      <a:cxn ang="0">
                        <a:pos x="153" y="139"/>
                      </a:cxn>
                      <a:cxn ang="0">
                        <a:pos x="139" y="125"/>
                      </a:cxn>
                      <a:cxn ang="0">
                        <a:pos x="127" y="127"/>
                      </a:cxn>
                      <a:cxn ang="0">
                        <a:pos x="96" y="125"/>
                      </a:cxn>
                      <a:cxn ang="0">
                        <a:pos x="89" y="127"/>
                      </a:cxn>
                      <a:cxn ang="0">
                        <a:pos x="77" y="101"/>
                      </a:cxn>
                      <a:cxn ang="0">
                        <a:pos x="75" y="96"/>
                      </a:cxn>
                      <a:cxn ang="0">
                        <a:pos x="66" y="92"/>
                      </a:cxn>
                      <a:cxn ang="0">
                        <a:pos x="63" y="94"/>
                      </a:cxn>
                      <a:cxn ang="0">
                        <a:pos x="54" y="80"/>
                      </a:cxn>
                      <a:cxn ang="0">
                        <a:pos x="47" y="61"/>
                      </a:cxn>
                      <a:cxn ang="0">
                        <a:pos x="23" y="59"/>
                      </a:cxn>
                      <a:cxn ang="0">
                        <a:pos x="2" y="54"/>
                      </a:cxn>
                      <a:cxn ang="0">
                        <a:pos x="2" y="44"/>
                      </a:cxn>
                      <a:cxn ang="0">
                        <a:pos x="4" y="37"/>
                      </a:cxn>
                      <a:cxn ang="0">
                        <a:pos x="11" y="23"/>
                      </a:cxn>
                      <a:cxn ang="0">
                        <a:pos x="23" y="11"/>
                      </a:cxn>
                      <a:cxn ang="0">
                        <a:pos x="59" y="14"/>
                      </a:cxn>
                      <a:cxn ang="0">
                        <a:pos x="63" y="9"/>
                      </a:cxn>
                      <a:cxn ang="0">
                        <a:pos x="66" y="2"/>
                      </a:cxn>
                      <a:cxn ang="0">
                        <a:pos x="80" y="0"/>
                      </a:cxn>
                      <a:cxn ang="0">
                        <a:pos x="120" y="7"/>
                      </a:cxn>
                      <a:cxn ang="0">
                        <a:pos x="139" y="11"/>
                      </a:cxn>
                      <a:cxn ang="0">
                        <a:pos x="172" y="16"/>
                      </a:cxn>
                      <a:cxn ang="0">
                        <a:pos x="181" y="21"/>
                      </a:cxn>
                      <a:cxn ang="0">
                        <a:pos x="193" y="21"/>
                      </a:cxn>
                      <a:cxn ang="0">
                        <a:pos x="205" y="23"/>
                      </a:cxn>
                      <a:cxn ang="0">
                        <a:pos x="212" y="21"/>
                      </a:cxn>
                      <a:cxn ang="0">
                        <a:pos x="224" y="35"/>
                      </a:cxn>
                      <a:cxn ang="0">
                        <a:pos x="229" y="47"/>
                      </a:cxn>
                      <a:cxn ang="0">
                        <a:pos x="259" y="61"/>
                      </a:cxn>
                      <a:cxn ang="0">
                        <a:pos x="288" y="68"/>
                      </a:cxn>
                      <a:cxn ang="0">
                        <a:pos x="302" y="89"/>
                      </a:cxn>
                      <a:cxn ang="0">
                        <a:pos x="311" y="111"/>
                      </a:cxn>
                      <a:cxn ang="0">
                        <a:pos x="314" y="118"/>
                      </a:cxn>
                      <a:cxn ang="0">
                        <a:pos x="283" y="122"/>
                      </a:cxn>
                      <a:cxn ang="0">
                        <a:pos x="269" y="125"/>
                      </a:cxn>
                      <a:cxn ang="0">
                        <a:pos x="264" y="127"/>
                      </a:cxn>
                      <a:cxn ang="0">
                        <a:pos x="255" y="125"/>
                      </a:cxn>
                      <a:cxn ang="0">
                        <a:pos x="250" y="118"/>
                      </a:cxn>
                      <a:cxn ang="0">
                        <a:pos x="245" y="111"/>
                      </a:cxn>
                      <a:cxn ang="0">
                        <a:pos x="233" y="111"/>
                      </a:cxn>
                      <a:cxn ang="0">
                        <a:pos x="224" y="111"/>
                      </a:cxn>
                      <a:cxn ang="0">
                        <a:pos x="222" y="108"/>
                      </a:cxn>
                      <a:cxn ang="0">
                        <a:pos x="236" y="108"/>
                      </a:cxn>
                      <a:cxn ang="0">
                        <a:pos x="222" y="103"/>
                      </a:cxn>
                      <a:cxn ang="0">
                        <a:pos x="217" y="101"/>
                      </a:cxn>
                      <a:cxn ang="0">
                        <a:pos x="207" y="127"/>
                      </a:cxn>
                      <a:cxn ang="0">
                        <a:pos x="191" y="129"/>
                      </a:cxn>
                      <a:cxn ang="0">
                        <a:pos x="193" y="125"/>
                      </a:cxn>
                      <a:cxn ang="0">
                        <a:pos x="191" y="118"/>
                      </a:cxn>
                      <a:cxn ang="0">
                        <a:pos x="179" y="118"/>
                      </a:cxn>
                      <a:cxn ang="0">
                        <a:pos x="170" y="141"/>
                      </a:cxn>
                      <a:cxn ang="0">
                        <a:pos x="179" y="151"/>
                      </a:cxn>
                      <a:cxn ang="0">
                        <a:pos x="172" y="155"/>
                      </a:cxn>
                    </a:cxnLst>
                    <a:rect l="0" t="0" r="r" b="b"/>
                    <a:pathLst>
                      <a:path w="316" h="155">
                        <a:moveTo>
                          <a:pt x="172" y="155"/>
                        </a:moveTo>
                        <a:lnTo>
                          <a:pt x="167" y="153"/>
                        </a:lnTo>
                        <a:lnTo>
                          <a:pt x="167" y="153"/>
                        </a:lnTo>
                        <a:lnTo>
                          <a:pt x="160" y="148"/>
                        </a:lnTo>
                        <a:lnTo>
                          <a:pt x="160" y="148"/>
                        </a:lnTo>
                        <a:lnTo>
                          <a:pt x="153" y="139"/>
                        </a:lnTo>
                        <a:lnTo>
                          <a:pt x="153" y="139"/>
                        </a:lnTo>
                        <a:lnTo>
                          <a:pt x="151" y="134"/>
                        </a:lnTo>
                        <a:lnTo>
                          <a:pt x="151" y="134"/>
                        </a:lnTo>
                        <a:lnTo>
                          <a:pt x="148" y="132"/>
                        </a:lnTo>
                        <a:lnTo>
                          <a:pt x="148" y="132"/>
                        </a:lnTo>
                        <a:lnTo>
                          <a:pt x="146" y="129"/>
                        </a:lnTo>
                        <a:lnTo>
                          <a:pt x="146" y="129"/>
                        </a:lnTo>
                        <a:lnTo>
                          <a:pt x="139" y="125"/>
                        </a:lnTo>
                        <a:lnTo>
                          <a:pt x="139" y="125"/>
                        </a:lnTo>
                        <a:lnTo>
                          <a:pt x="134" y="125"/>
                        </a:lnTo>
                        <a:lnTo>
                          <a:pt x="134" y="125"/>
                        </a:lnTo>
                        <a:lnTo>
                          <a:pt x="129" y="125"/>
                        </a:lnTo>
                        <a:lnTo>
                          <a:pt x="129" y="125"/>
                        </a:lnTo>
                        <a:lnTo>
                          <a:pt x="127" y="127"/>
                        </a:lnTo>
                        <a:lnTo>
                          <a:pt x="127" y="127"/>
                        </a:lnTo>
                        <a:lnTo>
                          <a:pt x="120" y="127"/>
                        </a:lnTo>
                        <a:lnTo>
                          <a:pt x="120" y="127"/>
                        </a:lnTo>
                        <a:lnTo>
                          <a:pt x="118" y="125"/>
                        </a:lnTo>
                        <a:lnTo>
                          <a:pt x="118" y="125"/>
                        </a:lnTo>
                        <a:lnTo>
                          <a:pt x="115" y="125"/>
                        </a:lnTo>
                        <a:lnTo>
                          <a:pt x="115" y="125"/>
                        </a:lnTo>
                        <a:lnTo>
                          <a:pt x="96" y="125"/>
                        </a:lnTo>
                        <a:lnTo>
                          <a:pt x="96" y="125"/>
                        </a:lnTo>
                        <a:lnTo>
                          <a:pt x="94" y="125"/>
                        </a:lnTo>
                        <a:lnTo>
                          <a:pt x="94" y="125"/>
                        </a:lnTo>
                        <a:lnTo>
                          <a:pt x="92" y="127"/>
                        </a:lnTo>
                        <a:lnTo>
                          <a:pt x="92" y="127"/>
                        </a:lnTo>
                        <a:lnTo>
                          <a:pt x="89" y="127"/>
                        </a:lnTo>
                        <a:lnTo>
                          <a:pt x="89" y="127"/>
                        </a:lnTo>
                        <a:lnTo>
                          <a:pt x="82" y="115"/>
                        </a:lnTo>
                        <a:lnTo>
                          <a:pt x="82" y="115"/>
                        </a:lnTo>
                        <a:lnTo>
                          <a:pt x="75" y="108"/>
                        </a:lnTo>
                        <a:lnTo>
                          <a:pt x="75" y="108"/>
                        </a:lnTo>
                        <a:lnTo>
                          <a:pt x="75" y="103"/>
                        </a:lnTo>
                        <a:lnTo>
                          <a:pt x="75" y="103"/>
                        </a:lnTo>
                        <a:lnTo>
                          <a:pt x="77" y="101"/>
                        </a:lnTo>
                        <a:lnTo>
                          <a:pt x="77" y="101"/>
                        </a:lnTo>
                        <a:lnTo>
                          <a:pt x="77" y="99"/>
                        </a:lnTo>
                        <a:lnTo>
                          <a:pt x="77" y="99"/>
                        </a:lnTo>
                        <a:lnTo>
                          <a:pt x="77" y="96"/>
                        </a:lnTo>
                        <a:lnTo>
                          <a:pt x="77" y="96"/>
                        </a:lnTo>
                        <a:lnTo>
                          <a:pt x="75" y="96"/>
                        </a:lnTo>
                        <a:lnTo>
                          <a:pt x="75" y="96"/>
                        </a:lnTo>
                        <a:lnTo>
                          <a:pt x="75" y="94"/>
                        </a:lnTo>
                        <a:lnTo>
                          <a:pt x="75" y="94"/>
                        </a:lnTo>
                        <a:lnTo>
                          <a:pt x="70" y="92"/>
                        </a:lnTo>
                        <a:lnTo>
                          <a:pt x="70" y="92"/>
                        </a:lnTo>
                        <a:lnTo>
                          <a:pt x="68" y="92"/>
                        </a:lnTo>
                        <a:lnTo>
                          <a:pt x="68" y="92"/>
                        </a:lnTo>
                        <a:lnTo>
                          <a:pt x="66" y="92"/>
                        </a:lnTo>
                        <a:lnTo>
                          <a:pt x="66" y="92"/>
                        </a:lnTo>
                        <a:lnTo>
                          <a:pt x="66" y="92"/>
                        </a:lnTo>
                        <a:lnTo>
                          <a:pt x="66" y="92"/>
                        </a:lnTo>
                        <a:lnTo>
                          <a:pt x="66" y="94"/>
                        </a:lnTo>
                        <a:lnTo>
                          <a:pt x="66" y="94"/>
                        </a:lnTo>
                        <a:lnTo>
                          <a:pt x="63" y="94"/>
                        </a:lnTo>
                        <a:lnTo>
                          <a:pt x="63" y="94"/>
                        </a:lnTo>
                        <a:lnTo>
                          <a:pt x="61" y="92"/>
                        </a:lnTo>
                        <a:lnTo>
                          <a:pt x="61" y="92"/>
                        </a:lnTo>
                        <a:lnTo>
                          <a:pt x="59" y="85"/>
                        </a:lnTo>
                        <a:lnTo>
                          <a:pt x="59" y="85"/>
                        </a:lnTo>
                        <a:lnTo>
                          <a:pt x="56" y="82"/>
                        </a:lnTo>
                        <a:lnTo>
                          <a:pt x="56" y="82"/>
                        </a:lnTo>
                        <a:lnTo>
                          <a:pt x="54" y="80"/>
                        </a:lnTo>
                        <a:lnTo>
                          <a:pt x="54" y="80"/>
                        </a:lnTo>
                        <a:lnTo>
                          <a:pt x="49" y="73"/>
                        </a:lnTo>
                        <a:lnTo>
                          <a:pt x="49" y="73"/>
                        </a:lnTo>
                        <a:lnTo>
                          <a:pt x="47" y="66"/>
                        </a:lnTo>
                        <a:lnTo>
                          <a:pt x="47" y="66"/>
                        </a:lnTo>
                        <a:lnTo>
                          <a:pt x="47" y="61"/>
                        </a:lnTo>
                        <a:lnTo>
                          <a:pt x="47" y="61"/>
                        </a:lnTo>
                        <a:lnTo>
                          <a:pt x="44" y="59"/>
                        </a:lnTo>
                        <a:lnTo>
                          <a:pt x="44" y="59"/>
                        </a:lnTo>
                        <a:lnTo>
                          <a:pt x="42" y="59"/>
                        </a:lnTo>
                        <a:lnTo>
                          <a:pt x="42" y="59"/>
                        </a:lnTo>
                        <a:lnTo>
                          <a:pt x="28" y="59"/>
                        </a:lnTo>
                        <a:lnTo>
                          <a:pt x="28" y="59"/>
                        </a:lnTo>
                        <a:lnTo>
                          <a:pt x="23" y="59"/>
                        </a:lnTo>
                        <a:lnTo>
                          <a:pt x="23" y="59"/>
                        </a:lnTo>
                        <a:lnTo>
                          <a:pt x="16" y="61"/>
                        </a:lnTo>
                        <a:lnTo>
                          <a:pt x="16" y="61"/>
                        </a:lnTo>
                        <a:lnTo>
                          <a:pt x="4" y="56"/>
                        </a:lnTo>
                        <a:lnTo>
                          <a:pt x="4" y="56"/>
                        </a:lnTo>
                        <a:lnTo>
                          <a:pt x="2" y="54"/>
                        </a:lnTo>
                        <a:lnTo>
                          <a:pt x="2" y="54"/>
                        </a:lnTo>
                        <a:lnTo>
                          <a:pt x="0" y="52"/>
                        </a:lnTo>
                        <a:lnTo>
                          <a:pt x="0" y="52"/>
                        </a:lnTo>
                        <a:lnTo>
                          <a:pt x="0" y="49"/>
                        </a:lnTo>
                        <a:lnTo>
                          <a:pt x="0" y="49"/>
                        </a:lnTo>
                        <a:lnTo>
                          <a:pt x="0" y="47"/>
                        </a:lnTo>
                        <a:lnTo>
                          <a:pt x="0" y="47"/>
                        </a:lnTo>
                        <a:lnTo>
                          <a:pt x="2" y="44"/>
                        </a:lnTo>
                        <a:lnTo>
                          <a:pt x="2" y="44"/>
                        </a:lnTo>
                        <a:lnTo>
                          <a:pt x="2" y="44"/>
                        </a:lnTo>
                        <a:lnTo>
                          <a:pt x="2" y="44"/>
                        </a:lnTo>
                        <a:lnTo>
                          <a:pt x="4" y="42"/>
                        </a:lnTo>
                        <a:lnTo>
                          <a:pt x="4" y="42"/>
                        </a:lnTo>
                        <a:lnTo>
                          <a:pt x="4" y="37"/>
                        </a:lnTo>
                        <a:lnTo>
                          <a:pt x="4" y="37"/>
                        </a:lnTo>
                        <a:lnTo>
                          <a:pt x="4" y="33"/>
                        </a:lnTo>
                        <a:lnTo>
                          <a:pt x="4" y="33"/>
                        </a:lnTo>
                        <a:lnTo>
                          <a:pt x="11" y="23"/>
                        </a:lnTo>
                        <a:lnTo>
                          <a:pt x="11" y="23"/>
                        </a:lnTo>
                        <a:lnTo>
                          <a:pt x="11" y="23"/>
                        </a:lnTo>
                        <a:lnTo>
                          <a:pt x="11" y="23"/>
                        </a:lnTo>
                        <a:lnTo>
                          <a:pt x="11" y="23"/>
                        </a:lnTo>
                        <a:lnTo>
                          <a:pt x="11" y="23"/>
                        </a:lnTo>
                        <a:lnTo>
                          <a:pt x="14" y="23"/>
                        </a:lnTo>
                        <a:lnTo>
                          <a:pt x="14" y="23"/>
                        </a:lnTo>
                        <a:lnTo>
                          <a:pt x="16" y="21"/>
                        </a:lnTo>
                        <a:lnTo>
                          <a:pt x="16" y="21"/>
                        </a:lnTo>
                        <a:lnTo>
                          <a:pt x="23" y="11"/>
                        </a:lnTo>
                        <a:lnTo>
                          <a:pt x="23" y="11"/>
                        </a:lnTo>
                        <a:lnTo>
                          <a:pt x="30" y="14"/>
                        </a:lnTo>
                        <a:lnTo>
                          <a:pt x="30" y="14"/>
                        </a:lnTo>
                        <a:lnTo>
                          <a:pt x="40" y="14"/>
                        </a:lnTo>
                        <a:lnTo>
                          <a:pt x="40" y="14"/>
                        </a:lnTo>
                        <a:lnTo>
                          <a:pt x="47" y="14"/>
                        </a:lnTo>
                        <a:lnTo>
                          <a:pt x="47" y="14"/>
                        </a:lnTo>
                        <a:lnTo>
                          <a:pt x="59" y="14"/>
                        </a:lnTo>
                        <a:lnTo>
                          <a:pt x="59" y="14"/>
                        </a:lnTo>
                        <a:lnTo>
                          <a:pt x="61" y="14"/>
                        </a:lnTo>
                        <a:lnTo>
                          <a:pt x="61" y="14"/>
                        </a:lnTo>
                        <a:lnTo>
                          <a:pt x="61" y="14"/>
                        </a:lnTo>
                        <a:lnTo>
                          <a:pt x="61" y="14"/>
                        </a:lnTo>
                        <a:lnTo>
                          <a:pt x="63" y="9"/>
                        </a:lnTo>
                        <a:lnTo>
                          <a:pt x="63" y="9"/>
                        </a:lnTo>
                        <a:lnTo>
                          <a:pt x="63" y="7"/>
                        </a:lnTo>
                        <a:lnTo>
                          <a:pt x="63" y="7"/>
                        </a:lnTo>
                        <a:lnTo>
                          <a:pt x="63" y="4"/>
                        </a:lnTo>
                        <a:lnTo>
                          <a:pt x="63" y="4"/>
                        </a:lnTo>
                        <a:lnTo>
                          <a:pt x="63" y="4"/>
                        </a:lnTo>
                        <a:lnTo>
                          <a:pt x="63" y="4"/>
                        </a:lnTo>
                        <a:lnTo>
                          <a:pt x="66" y="2"/>
                        </a:lnTo>
                        <a:lnTo>
                          <a:pt x="66" y="2"/>
                        </a:lnTo>
                        <a:lnTo>
                          <a:pt x="75" y="0"/>
                        </a:lnTo>
                        <a:lnTo>
                          <a:pt x="75" y="0"/>
                        </a:lnTo>
                        <a:lnTo>
                          <a:pt x="77" y="0"/>
                        </a:lnTo>
                        <a:lnTo>
                          <a:pt x="77" y="0"/>
                        </a:lnTo>
                        <a:lnTo>
                          <a:pt x="80" y="0"/>
                        </a:lnTo>
                        <a:lnTo>
                          <a:pt x="80" y="0"/>
                        </a:lnTo>
                        <a:lnTo>
                          <a:pt x="101" y="4"/>
                        </a:lnTo>
                        <a:lnTo>
                          <a:pt x="101" y="4"/>
                        </a:lnTo>
                        <a:lnTo>
                          <a:pt x="103" y="4"/>
                        </a:lnTo>
                        <a:lnTo>
                          <a:pt x="103" y="4"/>
                        </a:lnTo>
                        <a:lnTo>
                          <a:pt x="106" y="7"/>
                        </a:lnTo>
                        <a:lnTo>
                          <a:pt x="106" y="7"/>
                        </a:lnTo>
                        <a:lnTo>
                          <a:pt x="120" y="7"/>
                        </a:lnTo>
                        <a:lnTo>
                          <a:pt x="120" y="7"/>
                        </a:lnTo>
                        <a:lnTo>
                          <a:pt x="134" y="9"/>
                        </a:lnTo>
                        <a:lnTo>
                          <a:pt x="134" y="9"/>
                        </a:lnTo>
                        <a:lnTo>
                          <a:pt x="137" y="11"/>
                        </a:lnTo>
                        <a:lnTo>
                          <a:pt x="137" y="11"/>
                        </a:lnTo>
                        <a:lnTo>
                          <a:pt x="139" y="11"/>
                        </a:lnTo>
                        <a:lnTo>
                          <a:pt x="139" y="11"/>
                        </a:lnTo>
                        <a:lnTo>
                          <a:pt x="146" y="11"/>
                        </a:lnTo>
                        <a:lnTo>
                          <a:pt x="146" y="11"/>
                        </a:lnTo>
                        <a:lnTo>
                          <a:pt x="153" y="9"/>
                        </a:lnTo>
                        <a:lnTo>
                          <a:pt x="153" y="9"/>
                        </a:lnTo>
                        <a:lnTo>
                          <a:pt x="155" y="11"/>
                        </a:lnTo>
                        <a:lnTo>
                          <a:pt x="155" y="11"/>
                        </a:lnTo>
                        <a:lnTo>
                          <a:pt x="172" y="16"/>
                        </a:lnTo>
                        <a:lnTo>
                          <a:pt x="172" y="16"/>
                        </a:lnTo>
                        <a:lnTo>
                          <a:pt x="172" y="16"/>
                        </a:lnTo>
                        <a:lnTo>
                          <a:pt x="172" y="16"/>
                        </a:lnTo>
                        <a:lnTo>
                          <a:pt x="174" y="18"/>
                        </a:lnTo>
                        <a:lnTo>
                          <a:pt x="174" y="18"/>
                        </a:lnTo>
                        <a:lnTo>
                          <a:pt x="181" y="21"/>
                        </a:lnTo>
                        <a:lnTo>
                          <a:pt x="181" y="21"/>
                        </a:lnTo>
                        <a:lnTo>
                          <a:pt x="186" y="21"/>
                        </a:lnTo>
                        <a:lnTo>
                          <a:pt x="186" y="21"/>
                        </a:lnTo>
                        <a:lnTo>
                          <a:pt x="189" y="18"/>
                        </a:lnTo>
                        <a:lnTo>
                          <a:pt x="189" y="18"/>
                        </a:lnTo>
                        <a:lnTo>
                          <a:pt x="191" y="18"/>
                        </a:lnTo>
                        <a:lnTo>
                          <a:pt x="191" y="18"/>
                        </a:lnTo>
                        <a:lnTo>
                          <a:pt x="193" y="21"/>
                        </a:lnTo>
                        <a:lnTo>
                          <a:pt x="193" y="21"/>
                        </a:lnTo>
                        <a:lnTo>
                          <a:pt x="200" y="23"/>
                        </a:lnTo>
                        <a:lnTo>
                          <a:pt x="200" y="23"/>
                        </a:lnTo>
                        <a:lnTo>
                          <a:pt x="203" y="23"/>
                        </a:lnTo>
                        <a:lnTo>
                          <a:pt x="203" y="23"/>
                        </a:lnTo>
                        <a:lnTo>
                          <a:pt x="205" y="23"/>
                        </a:lnTo>
                        <a:lnTo>
                          <a:pt x="205" y="23"/>
                        </a:lnTo>
                        <a:lnTo>
                          <a:pt x="205" y="21"/>
                        </a:lnTo>
                        <a:lnTo>
                          <a:pt x="205" y="21"/>
                        </a:lnTo>
                        <a:lnTo>
                          <a:pt x="205" y="21"/>
                        </a:lnTo>
                        <a:lnTo>
                          <a:pt x="205" y="21"/>
                        </a:lnTo>
                        <a:lnTo>
                          <a:pt x="212" y="21"/>
                        </a:lnTo>
                        <a:lnTo>
                          <a:pt x="212" y="21"/>
                        </a:lnTo>
                        <a:lnTo>
                          <a:pt x="212" y="21"/>
                        </a:lnTo>
                        <a:lnTo>
                          <a:pt x="212" y="21"/>
                        </a:lnTo>
                        <a:lnTo>
                          <a:pt x="212" y="23"/>
                        </a:lnTo>
                        <a:lnTo>
                          <a:pt x="212" y="23"/>
                        </a:lnTo>
                        <a:lnTo>
                          <a:pt x="219" y="33"/>
                        </a:lnTo>
                        <a:lnTo>
                          <a:pt x="219" y="33"/>
                        </a:lnTo>
                        <a:lnTo>
                          <a:pt x="224" y="35"/>
                        </a:lnTo>
                        <a:lnTo>
                          <a:pt x="224" y="35"/>
                        </a:lnTo>
                        <a:lnTo>
                          <a:pt x="224" y="40"/>
                        </a:lnTo>
                        <a:lnTo>
                          <a:pt x="224" y="40"/>
                        </a:lnTo>
                        <a:lnTo>
                          <a:pt x="224" y="40"/>
                        </a:lnTo>
                        <a:lnTo>
                          <a:pt x="224" y="40"/>
                        </a:lnTo>
                        <a:lnTo>
                          <a:pt x="226" y="44"/>
                        </a:lnTo>
                        <a:lnTo>
                          <a:pt x="226" y="44"/>
                        </a:lnTo>
                        <a:lnTo>
                          <a:pt x="229" y="47"/>
                        </a:lnTo>
                        <a:lnTo>
                          <a:pt x="229" y="47"/>
                        </a:lnTo>
                        <a:lnTo>
                          <a:pt x="236" y="49"/>
                        </a:lnTo>
                        <a:lnTo>
                          <a:pt x="236" y="49"/>
                        </a:lnTo>
                        <a:lnTo>
                          <a:pt x="250" y="56"/>
                        </a:lnTo>
                        <a:lnTo>
                          <a:pt x="250" y="56"/>
                        </a:lnTo>
                        <a:lnTo>
                          <a:pt x="259" y="61"/>
                        </a:lnTo>
                        <a:lnTo>
                          <a:pt x="259" y="61"/>
                        </a:lnTo>
                        <a:lnTo>
                          <a:pt x="262" y="61"/>
                        </a:lnTo>
                        <a:lnTo>
                          <a:pt x="262" y="61"/>
                        </a:lnTo>
                        <a:lnTo>
                          <a:pt x="274" y="63"/>
                        </a:lnTo>
                        <a:lnTo>
                          <a:pt x="274" y="63"/>
                        </a:lnTo>
                        <a:lnTo>
                          <a:pt x="285" y="66"/>
                        </a:lnTo>
                        <a:lnTo>
                          <a:pt x="285" y="66"/>
                        </a:lnTo>
                        <a:lnTo>
                          <a:pt x="288" y="68"/>
                        </a:lnTo>
                        <a:lnTo>
                          <a:pt x="288" y="68"/>
                        </a:lnTo>
                        <a:lnTo>
                          <a:pt x="292" y="70"/>
                        </a:lnTo>
                        <a:lnTo>
                          <a:pt x="292" y="70"/>
                        </a:lnTo>
                        <a:lnTo>
                          <a:pt x="300" y="87"/>
                        </a:lnTo>
                        <a:lnTo>
                          <a:pt x="300" y="87"/>
                        </a:lnTo>
                        <a:lnTo>
                          <a:pt x="302" y="89"/>
                        </a:lnTo>
                        <a:lnTo>
                          <a:pt x="302" y="89"/>
                        </a:lnTo>
                        <a:lnTo>
                          <a:pt x="302" y="96"/>
                        </a:lnTo>
                        <a:lnTo>
                          <a:pt x="302" y="96"/>
                        </a:lnTo>
                        <a:lnTo>
                          <a:pt x="307" y="108"/>
                        </a:lnTo>
                        <a:lnTo>
                          <a:pt x="307" y="108"/>
                        </a:lnTo>
                        <a:lnTo>
                          <a:pt x="309" y="111"/>
                        </a:lnTo>
                        <a:lnTo>
                          <a:pt x="309" y="111"/>
                        </a:lnTo>
                        <a:lnTo>
                          <a:pt x="311" y="111"/>
                        </a:lnTo>
                        <a:lnTo>
                          <a:pt x="311" y="111"/>
                        </a:lnTo>
                        <a:lnTo>
                          <a:pt x="316" y="115"/>
                        </a:lnTo>
                        <a:lnTo>
                          <a:pt x="316" y="115"/>
                        </a:lnTo>
                        <a:lnTo>
                          <a:pt x="316" y="115"/>
                        </a:lnTo>
                        <a:lnTo>
                          <a:pt x="316" y="115"/>
                        </a:lnTo>
                        <a:lnTo>
                          <a:pt x="314" y="118"/>
                        </a:lnTo>
                        <a:lnTo>
                          <a:pt x="314" y="118"/>
                        </a:lnTo>
                        <a:lnTo>
                          <a:pt x="302" y="122"/>
                        </a:lnTo>
                        <a:lnTo>
                          <a:pt x="302" y="122"/>
                        </a:lnTo>
                        <a:lnTo>
                          <a:pt x="292" y="125"/>
                        </a:lnTo>
                        <a:lnTo>
                          <a:pt x="292" y="125"/>
                        </a:lnTo>
                        <a:lnTo>
                          <a:pt x="285" y="122"/>
                        </a:lnTo>
                        <a:lnTo>
                          <a:pt x="285" y="122"/>
                        </a:lnTo>
                        <a:lnTo>
                          <a:pt x="283" y="122"/>
                        </a:lnTo>
                        <a:lnTo>
                          <a:pt x="283" y="122"/>
                        </a:lnTo>
                        <a:lnTo>
                          <a:pt x="283" y="122"/>
                        </a:lnTo>
                        <a:lnTo>
                          <a:pt x="283" y="122"/>
                        </a:lnTo>
                        <a:lnTo>
                          <a:pt x="271" y="125"/>
                        </a:lnTo>
                        <a:lnTo>
                          <a:pt x="271" y="125"/>
                        </a:lnTo>
                        <a:lnTo>
                          <a:pt x="269" y="125"/>
                        </a:lnTo>
                        <a:lnTo>
                          <a:pt x="269" y="125"/>
                        </a:lnTo>
                        <a:lnTo>
                          <a:pt x="269" y="125"/>
                        </a:lnTo>
                        <a:lnTo>
                          <a:pt x="269" y="125"/>
                        </a:lnTo>
                        <a:lnTo>
                          <a:pt x="266" y="127"/>
                        </a:lnTo>
                        <a:lnTo>
                          <a:pt x="266" y="127"/>
                        </a:lnTo>
                        <a:lnTo>
                          <a:pt x="266" y="127"/>
                        </a:lnTo>
                        <a:lnTo>
                          <a:pt x="266" y="127"/>
                        </a:lnTo>
                        <a:lnTo>
                          <a:pt x="264" y="127"/>
                        </a:lnTo>
                        <a:lnTo>
                          <a:pt x="264" y="127"/>
                        </a:lnTo>
                        <a:lnTo>
                          <a:pt x="262" y="125"/>
                        </a:lnTo>
                        <a:lnTo>
                          <a:pt x="262" y="125"/>
                        </a:lnTo>
                        <a:lnTo>
                          <a:pt x="259" y="125"/>
                        </a:lnTo>
                        <a:lnTo>
                          <a:pt x="259" y="125"/>
                        </a:lnTo>
                        <a:lnTo>
                          <a:pt x="255" y="125"/>
                        </a:lnTo>
                        <a:lnTo>
                          <a:pt x="255" y="125"/>
                        </a:lnTo>
                        <a:lnTo>
                          <a:pt x="255" y="125"/>
                        </a:lnTo>
                        <a:lnTo>
                          <a:pt x="255" y="125"/>
                        </a:lnTo>
                        <a:lnTo>
                          <a:pt x="252" y="122"/>
                        </a:lnTo>
                        <a:lnTo>
                          <a:pt x="252" y="122"/>
                        </a:lnTo>
                        <a:lnTo>
                          <a:pt x="252" y="120"/>
                        </a:lnTo>
                        <a:lnTo>
                          <a:pt x="252" y="120"/>
                        </a:lnTo>
                        <a:lnTo>
                          <a:pt x="250" y="118"/>
                        </a:lnTo>
                        <a:lnTo>
                          <a:pt x="250" y="118"/>
                        </a:lnTo>
                        <a:lnTo>
                          <a:pt x="248" y="113"/>
                        </a:lnTo>
                        <a:lnTo>
                          <a:pt x="248" y="113"/>
                        </a:lnTo>
                        <a:lnTo>
                          <a:pt x="245" y="111"/>
                        </a:lnTo>
                        <a:lnTo>
                          <a:pt x="245" y="111"/>
                        </a:lnTo>
                        <a:lnTo>
                          <a:pt x="245" y="111"/>
                        </a:lnTo>
                        <a:lnTo>
                          <a:pt x="245" y="111"/>
                        </a:lnTo>
                        <a:lnTo>
                          <a:pt x="240" y="111"/>
                        </a:lnTo>
                        <a:lnTo>
                          <a:pt x="240" y="111"/>
                        </a:lnTo>
                        <a:lnTo>
                          <a:pt x="238" y="111"/>
                        </a:lnTo>
                        <a:lnTo>
                          <a:pt x="238" y="111"/>
                        </a:lnTo>
                        <a:lnTo>
                          <a:pt x="236" y="111"/>
                        </a:lnTo>
                        <a:lnTo>
                          <a:pt x="236" y="111"/>
                        </a:lnTo>
                        <a:lnTo>
                          <a:pt x="233" y="111"/>
                        </a:lnTo>
                        <a:lnTo>
                          <a:pt x="233" y="111"/>
                        </a:lnTo>
                        <a:lnTo>
                          <a:pt x="231" y="111"/>
                        </a:lnTo>
                        <a:lnTo>
                          <a:pt x="231" y="111"/>
                        </a:lnTo>
                        <a:lnTo>
                          <a:pt x="229" y="113"/>
                        </a:lnTo>
                        <a:lnTo>
                          <a:pt x="229" y="113"/>
                        </a:lnTo>
                        <a:lnTo>
                          <a:pt x="224" y="111"/>
                        </a:lnTo>
                        <a:lnTo>
                          <a:pt x="224" y="111"/>
                        </a:lnTo>
                        <a:lnTo>
                          <a:pt x="219" y="111"/>
                        </a:lnTo>
                        <a:lnTo>
                          <a:pt x="219" y="111"/>
                        </a:lnTo>
                        <a:lnTo>
                          <a:pt x="219" y="111"/>
                        </a:lnTo>
                        <a:lnTo>
                          <a:pt x="219" y="111"/>
                        </a:lnTo>
                        <a:lnTo>
                          <a:pt x="219" y="111"/>
                        </a:lnTo>
                        <a:lnTo>
                          <a:pt x="219" y="111"/>
                        </a:lnTo>
                        <a:lnTo>
                          <a:pt x="222" y="108"/>
                        </a:lnTo>
                        <a:lnTo>
                          <a:pt x="222" y="108"/>
                        </a:lnTo>
                        <a:lnTo>
                          <a:pt x="226" y="111"/>
                        </a:lnTo>
                        <a:lnTo>
                          <a:pt x="226" y="111"/>
                        </a:lnTo>
                        <a:lnTo>
                          <a:pt x="233" y="108"/>
                        </a:lnTo>
                        <a:lnTo>
                          <a:pt x="233" y="108"/>
                        </a:lnTo>
                        <a:lnTo>
                          <a:pt x="236" y="108"/>
                        </a:lnTo>
                        <a:lnTo>
                          <a:pt x="236" y="108"/>
                        </a:lnTo>
                        <a:lnTo>
                          <a:pt x="236" y="108"/>
                        </a:lnTo>
                        <a:lnTo>
                          <a:pt x="236" y="108"/>
                        </a:lnTo>
                        <a:lnTo>
                          <a:pt x="236" y="106"/>
                        </a:lnTo>
                        <a:lnTo>
                          <a:pt x="236" y="106"/>
                        </a:lnTo>
                        <a:lnTo>
                          <a:pt x="233" y="106"/>
                        </a:lnTo>
                        <a:lnTo>
                          <a:pt x="233" y="106"/>
                        </a:lnTo>
                        <a:lnTo>
                          <a:pt x="222" y="103"/>
                        </a:lnTo>
                        <a:lnTo>
                          <a:pt x="222" y="103"/>
                        </a:lnTo>
                        <a:lnTo>
                          <a:pt x="222" y="101"/>
                        </a:lnTo>
                        <a:lnTo>
                          <a:pt x="222" y="101"/>
                        </a:lnTo>
                        <a:lnTo>
                          <a:pt x="219" y="101"/>
                        </a:lnTo>
                        <a:lnTo>
                          <a:pt x="219" y="101"/>
                        </a:lnTo>
                        <a:lnTo>
                          <a:pt x="217" y="101"/>
                        </a:lnTo>
                        <a:lnTo>
                          <a:pt x="217" y="101"/>
                        </a:lnTo>
                        <a:lnTo>
                          <a:pt x="217" y="103"/>
                        </a:lnTo>
                        <a:lnTo>
                          <a:pt x="217" y="103"/>
                        </a:lnTo>
                        <a:lnTo>
                          <a:pt x="214" y="115"/>
                        </a:lnTo>
                        <a:lnTo>
                          <a:pt x="214" y="115"/>
                        </a:lnTo>
                        <a:lnTo>
                          <a:pt x="212" y="122"/>
                        </a:lnTo>
                        <a:lnTo>
                          <a:pt x="212" y="122"/>
                        </a:lnTo>
                        <a:lnTo>
                          <a:pt x="207" y="127"/>
                        </a:lnTo>
                        <a:lnTo>
                          <a:pt x="207" y="127"/>
                        </a:lnTo>
                        <a:lnTo>
                          <a:pt x="205" y="129"/>
                        </a:lnTo>
                        <a:lnTo>
                          <a:pt x="205" y="129"/>
                        </a:lnTo>
                        <a:lnTo>
                          <a:pt x="191" y="129"/>
                        </a:lnTo>
                        <a:lnTo>
                          <a:pt x="191" y="129"/>
                        </a:lnTo>
                        <a:lnTo>
                          <a:pt x="191" y="129"/>
                        </a:lnTo>
                        <a:lnTo>
                          <a:pt x="191" y="129"/>
                        </a:lnTo>
                        <a:lnTo>
                          <a:pt x="191" y="127"/>
                        </a:lnTo>
                        <a:lnTo>
                          <a:pt x="191" y="127"/>
                        </a:lnTo>
                        <a:lnTo>
                          <a:pt x="191" y="125"/>
                        </a:lnTo>
                        <a:lnTo>
                          <a:pt x="191" y="125"/>
                        </a:lnTo>
                        <a:lnTo>
                          <a:pt x="193" y="125"/>
                        </a:lnTo>
                        <a:lnTo>
                          <a:pt x="193" y="125"/>
                        </a:lnTo>
                        <a:lnTo>
                          <a:pt x="193" y="125"/>
                        </a:lnTo>
                        <a:lnTo>
                          <a:pt x="193" y="125"/>
                        </a:lnTo>
                        <a:lnTo>
                          <a:pt x="193" y="122"/>
                        </a:lnTo>
                        <a:lnTo>
                          <a:pt x="193" y="122"/>
                        </a:lnTo>
                        <a:lnTo>
                          <a:pt x="193" y="120"/>
                        </a:lnTo>
                        <a:lnTo>
                          <a:pt x="193" y="120"/>
                        </a:lnTo>
                        <a:lnTo>
                          <a:pt x="191" y="118"/>
                        </a:lnTo>
                        <a:lnTo>
                          <a:pt x="191" y="118"/>
                        </a:lnTo>
                        <a:lnTo>
                          <a:pt x="189" y="118"/>
                        </a:lnTo>
                        <a:lnTo>
                          <a:pt x="189" y="118"/>
                        </a:lnTo>
                        <a:lnTo>
                          <a:pt x="186" y="118"/>
                        </a:lnTo>
                        <a:lnTo>
                          <a:pt x="186" y="118"/>
                        </a:lnTo>
                        <a:lnTo>
                          <a:pt x="179" y="118"/>
                        </a:lnTo>
                        <a:lnTo>
                          <a:pt x="179" y="118"/>
                        </a:lnTo>
                        <a:lnTo>
                          <a:pt x="179" y="118"/>
                        </a:lnTo>
                        <a:lnTo>
                          <a:pt x="179" y="118"/>
                        </a:lnTo>
                        <a:lnTo>
                          <a:pt x="177" y="120"/>
                        </a:lnTo>
                        <a:lnTo>
                          <a:pt x="177" y="120"/>
                        </a:lnTo>
                        <a:lnTo>
                          <a:pt x="177" y="122"/>
                        </a:lnTo>
                        <a:lnTo>
                          <a:pt x="177" y="122"/>
                        </a:lnTo>
                        <a:lnTo>
                          <a:pt x="170" y="141"/>
                        </a:lnTo>
                        <a:lnTo>
                          <a:pt x="170" y="141"/>
                        </a:lnTo>
                        <a:lnTo>
                          <a:pt x="174" y="144"/>
                        </a:lnTo>
                        <a:lnTo>
                          <a:pt x="174" y="144"/>
                        </a:lnTo>
                        <a:lnTo>
                          <a:pt x="177" y="146"/>
                        </a:lnTo>
                        <a:lnTo>
                          <a:pt x="177" y="146"/>
                        </a:lnTo>
                        <a:lnTo>
                          <a:pt x="179" y="148"/>
                        </a:lnTo>
                        <a:lnTo>
                          <a:pt x="179" y="148"/>
                        </a:lnTo>
                        <a:lnTo>
                          <a:pt x="179" y="151"/>
                        </a:lnTo>
                        <a:lnTo>
                          <a:pt x="179" y="151"/>
                        </a:lnTo>
                        <a:lnTo>
                          <a:pt x="177" y="153"/>
                        </a:lnTo>
                        <a:lnTo>
                          <a:pt x="177" y="153"/>
                        </a:lnTo>
                        <a:lnTo>
                          <a:pt x="174" y="153"/>
                        </a:lnTo>
                        <a:lnTo>
                          <a:pt x="174" y="153"/>
                        </a:lnTo>
                        <a:lnTo>
                          <a:pt x="172" y="155"/>
                        </a:lnTo>
                        <a:lnTo>
                          <a:pt x="172" y="155"/>
                        </a:lnTo>
                        <a:lnTo>
                          <a:pt x="172" y="155"/>
                        </a:lnTo>
                        <a:lnTo>
                          <a:pt x="172" y="155"/>
                        </a:lnTo>
                        <a:close/>
                      </a:path>
                    </a:pathLst>
                  </a:custGeom>
                  <a:solidFill>
                    <a:srgbClr val="660066"/>
                  </a:solidFill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96" name="Freeform 1204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3754438" y="2301875"/>
                    <a:ext cx="695325" cy="609600"/>
                  </a:xfrm>
                  <a:custGeom>
                    <a:avLst/>
                    <a:gdLst/>
                    <a:ahLst/>
                    <a:cxnLst>
                      <a:cxn ang="0">
                        <a:pos x="309" y="241"/>
                      </a:cxn>
                      <a:cxn ang="0">
                        <a:pos x="290" y="227"/>
                      </a:cxn>
                      <a:cxn ang="0">
                        <a:pos x="276" y="218"/>
                      </a:cxn>
                      <a:cxn ang="0">
                        <a:pos x="243" y="175"/>
                      </a:cxn>
                      <a:cxn ang="0">
                        <a:pos x="245" y="163"/>
                      </a:cxn>
                      <a:cxn ang="0">
                        <a:pos x="255" y="156"/>
                      </a:cxn>
                      <a:cxn ang="0">
                        <a:pos x="243" y="137"/>
                      </a:cxn>
                      <a:cxn ang="0">
                        <a:pos x="245" y="111"/>
                      </a:cxn>
                      <a:cxn ang="0">
                        <a:pos x="252" y="111"/>
                      </a:cxn>
                      <a:cxn ang="0">
                        <a:pos x="250" y="95"/>
                      </a:cxn>
                      <a:cxn ang="0">
                        <a:pos x="231" y="78"/>
                      </a:cxn>
                      <a:cxn ang="0">
                        <a:pos x="196" y="59"/>
                      </a:cxn>
                      <a:cxn ang="0">
                        <a:pos x="149" y="55"/>
                      </a:cxn>
                      <a:cxn ang="0">
                        <a:pos x="151" y="29"/>
                      </a:cxn>
                      <a:cxn ang="0">
                        <a:pos x="158" y="24"/>
                      </a:cxn>
                      <a:cxn ang="0">
                        <a:pos x="163" y="21"/>
                      </a:cxn>
                      <a:cxn ang="0">
                        <a:pos x="189" y="3"/>
                      </a:cxn>
                      <a:cxn ang="0">
                        <a:pos x="234" y="3"/>
                      </a:cxn>
                      <a:cxn ang="0">
                        <a:pos x="278" y="19"/>
                      </a:cxn>
                      <a:cxn ang="0">
                        <a:pos x="307" y="33"/>
                      </a:cxn>
                      <a:cxn ang="0">
                        <a:pos x="328" y="33"/>
                      </a:cxn>
                      <a:cxn ang="0">
                        <a:pos x="352" y="47"/>
                      </a:cxn>
                      <a:cxn ang="0">
                        <a:pos x="392" y="47"/>
                      </a:cxn>
                      <a:cxn ang="0">
                        <a:pos x="406" y="92"/>
                      </a:cxn>
                      <a:cxn ang="0">
                        <a:pos x="394" y="121"/>
                      </a:cxn>
                      <a:cxn ang="0">
                        <a:pos x="415" y="144"/>
                      </a:cxn>
                      <a:cxn ang="0">
                        <a:pos x="399" y="161"/>
                      </a:cxn>
                      <a:cxn ang="0">
                        <a:pos x="378" y="187"/>
                      </a:cxn>
                      <a:cxn ang="0">
                        <a:pos x="389" y="218"/>
                      </a:cxn>
                      <a:cxn ang="0">
                        <a:pos x="380" y="236"/>
                      </a:cxn>
                      <a:cxn ang="0">
                        <a:pos x="359" y="248"/>
                      </a:cxn>
                      <a:cxn ang="0">
                        <a:pos x="385" y="293"/>
                      </a:cxn>
                      <a:cxn ang="0">
                        <a:pos x="387" y="326"/>
                      </a:cxn>
                      <a:cxn ang="0">
                        <a:pos x="382" y="355"/>
                      </a:cxn>
                      <a:cxn ang="0">
                        <a:pos x="361" y="331"/>
                      </a:cxn>
                      <a:cxn ang="0">
                        <a:pos x="321" y="326"/>
                      </a:cxn>
                      <a:cxn ang="0">
                        <a:pos x="278" y="326"/>
                      </a:cxn>
                      <a:cxn ang="0">
                        <a:pos x="269" y="336"/>
                      </a:cxn>
                      <a:cxn ang="0">
                        <a:pos x="231" y="343"/>
                      </a:cxn>
                      <a:cxn ang="0">
                        <a:pos x="165" y="326"/>
                      </a:cxn>
                      <a:cxn ang="0">
                        <a:pos x="141" y="324"/>
                      </a:cxn>
                      <a:cxn ang="0">
                        <a:pos x="92" y="343"/>
                      </a:cxn>
                      <a:cxn ang="0">
                        <a:pos x="99" y="359"/>
                      </a:cxn>
                      <a:cxn ang="0">
                        <a:pos x="82" y="362"/>
                      </a:cxn>
                      <a:cxn ang="0">
                        <a:pos x="40" y="312"/>
                      </a:cxn>
                      <a:cxn ang="0">
                        <a:pos x="16" y="312"/>
                      </a:cxn>
                      <a:cxn ang="0">
                        <a:pos x="12" y="248"/>
                      </a:cxn>
                      <a:cxn ang="0">
                        <a:pos x="52" y="244"/>
                      </a:cxn>
                      <a:cxn ang="0">
                        <a:pos x="73" y="255"/>
                      </a:cxn>
                      <a:cxn ang="0">
                        <a:pos x="99" y="267"/>
                      </a:cxn>
                      <a:cxn ang="0">
                        <a:pos x="106" y="262"/>
                      </a:cxn>
                      <a:cxn ang="0">
                        <a:pos x="130" y="262"/>
                      </a:cxn>
                      <a:cxn ang="0">
                        <a:pos x="115" y="265"/>
                      </a:cxn>
                      <a:cxn ang="0">
                        <a:pos x="127" y="272"/>
                      </a:cxn>
                      <a:cxn ang="0">
                        <a:pos x="153" y="270"/>
                      </a:cxn>
                      <a:cxn ang="0">
                        <a:pos x="186" y="277"/>
                      </a:cxn>
                      <a:cxn ang="0">
                        <a:pos x="201" y="284"/>
                      </a:cxn>
                      <a:cxn ang="0">
                        <a:pos x="231" y="286"/>
                      </a:cxn>
                      <a:cxn ang="0">
                        <a:pos x="260" y="279"/>
                      </a:cxn>
                      <a:cxn ang="0">
                        <a:pos x="274" y="262"/>
                      </a:cxn>
                      <a:cxn ang="0">
                        <a:pos x="297" y="265"/>
                      </a:cxn>
                    </a:cxnLst>
                    <a:rect l="0" t="0" r="r" b="b"/>
                    <a:pathLst>
                      <a:path w="415" h="364">
                        <a:moveTo>
                          <a:pt x="307" y="267"/>
                        </a:moveTo>
                        <a:lnTo>
                          <a:pt x="307" y="260"/>
                        </a:lnTo>
                        <a:lnTo>
                          <a:pt x="307" y="260"/>
                        </a:lnTo>
                        <a:lnTo>
                          <a:pt x="307" y="251"/>
                        </a:lnTo>
                        <a:lnTo>
                          <a:pt x="307" y="251"/>
                        </a:lnTo>
                        <a:lnTo>
                          <a:pt x="307" y="251"/>
                        </a:lnTo>
                        <a:lnTo>
                          <a:pt x="307" y="251"/>
                        </a:lnTo>
                        <a:lnTo>
                          <a:pt x="309" y="246"/>
                        </a:lnTo>
                        <a:lnTo>
                          <a:pt x="309" y="246"/>
                        </a:lnTo>
                        <a:lnTo>
                          <a:pt x="312" y="244"/>
                        </a:lnTo>
                        <a:lnTo>
                          <a:pt x="312" y="244"/>
                        </a:lnTo>
                        <a:lnTo>
                          <a:pt x="312" y="244"/>
                        </a:lnTo>
                        <a:lnTo>
                          <a:pt x="312" y="244"/>
                        </a:lnTo>
                        <a:lnTo>
                          <a:pt x="309" y="241"/>
                        </a:lnTo>
                        <a:lnTo>
                          <a:pt x="309" y="241"/>
                        </a:lnTo>
                        <a:lnTo>
                          <a:pt x="309" y="239"/>
                        </a:lnTo>
                        <a:lnTo>
                          <a:pt x="309" y="239"/>
                        </a:lnTo>
                        <a:lnTo>
                          <a:pt x="300" y="234"/>
                        </a:lnTo>
                        <a:lnTo>
                          <a:pt x="300" y="234"/>
                        </a:lnTo>
                        <a:lnTo>
                          <a:pt x="300" y="234"/>
                        </a:lnTo>
                        <a:lnTo>
                          <a:pt x="300" y="234"/>
                        </a:lnTo>
                        <a:lnTo>
                          <a:pt x="295" y="234"/>
                        </a:lnTo>
                        <a:lnTo>
                          <a:pt x="295" y="234"/>
                        </a:lnTo>
                        <a:lnTo>
                          <a:pt x="293" y="232"/>
                        </a:lnTo>
                        <a:lnTo>
                          <a:pt x="293" y="232"/>
                        </a:lnTo>
                        <a:lnTo>
                          <a:pt x="290" y="232"/>
                        </a:lnTo>
                        <a:lnTo>
                          <a:pt x="290" y="232"/>
                        </a:lnTo>
                        <a:lnTo>
                          <a:pt x="290" y="227"/>
                        </a:lnTo>
                        <a:lnTo>
                          <a:pt x="290" y="227"/>
                        </a:lnTo>
                        <a:lnTo>
                          <a:pt x="288" y="225"/>
                        </a:lnTo>
                        <a:lnTo>
                          <a:pt x="288" y="225"/>
                        </a:lnTo>
                        <a:lnTo>
                          <a:pt x="286" y="225"/>
                        </a:lnTo>
                        <a:lnTo>
                          <a:pt x="286" y="225"/>
                        </a:lnTo>
                        <a:lnTo>
                          <a:pt x="283" y="225"/>
                        </a:lnTo>
                        <a:lnTo>
                          <a:pt x="283" y="225"/>
                        </a:lnTo>
                        <a:lnTo>
                          <a:pt x="281" y="225"/>
                        </a:lnTo>
                        <a:lnTo>
                          <a:pt x="281" y="225"/>
                        </a:lnTo>
                        <a:lnTo>
                          <a:pt x="278" y="222"/>
                        </a:lnTo>
                        <a:lnTo>
                          <a:pt x="278" y="222"/>
                        </a:lnTo>
                        <a:lnTo>
                          <a:pt x="278" y="222"/>
                        </a:lnTo>
                        <a:lnTo>
                          <a:pt x="278" y="222"/>
                        </a:lnTo>
                        <a:lnTo>
                          <a:pt x="276" y="218"/>
                        </a:lnTo>
                        <a:lnTo>
                          <a:pt x="276" y="218"/>
                        </a:lnTo>
                        <a:lnTo>
                          <a:pt x="271" y="210"/>
                        </a:lnTo>
                        <a:lnTo>
                          <a:pt x="271" y="210"/>
                        </a:lnTo>
                        <a:lnTo>
                          <a:pt x="264" y="199"/>
                        </a:lnTo>
                        <a:lnTo>
                          <a:pt x="264" y="199"/>
                        </a:lnTo>
                        <a:lnTo>
                          <a:pt x="262" y="196"/>
                        </a:lnTo>
                        <a:lnTo>
                          <a:pt x="262" y="196"/>
                        </a:lnTo>
                        <a:lnTo>
                          <a:pt x="257" y="192"/>
                        </a:lnTo>
                        <a:lnTo>
                          <a:pt x="257" y="192"/>
                        </a:lnTo>
                        <a:lnTo>
                          <a:pt x="250" y="182"/>
                        </a:lnTo>
                        <a:lnTo>
                          <a:pt x="250" y="182"/>
                        </a:lnTo>
                        <a:lnTo>
                          <a:pt x="245" y="177"/>
                        </a:lnTo>
                        <a:lnTo>
                          <a:pt x="245" y="177"/>
                        </a:lnTo>
                        <a:lnTo>
                          <a:pt x="243" y="175"/>
                        </a:lnTo>
                        <a:lnTo>
                          <a:pt x="243" y="175"/>
                        </a:lnTo>
                        <a:lnTo>
                          <a:pt x="241" y="175"/>
                        </a:lnTo>
                        <a:lnTo>
                          <a:pt x="241" y="175"/>
                        </a:lnTo>
                        <a:lnTo>
                          <a:pt x="238" y="173"/>
                        </a:lnTo>
                        <a:lnTo>
                          <a:pt x="238" y="173"/>
                        </a:lnTo>
                        <a:lnTo>
                          <a:pt x="238" y="170"/>
                        </a:lnTo>
                        <a:lnTo>
                          <a:pt x="238" y="170"/>
                        </a:lnTo>
                        <a:lnTo>
                          <a:pt x="238" y="170"/>
                        </a:lnTo>
                        <a:lnTo>
                          <a:pt x="238" y="170"/>
                        </a:lnTo>
                        <a:lnTo>
                          <a:pt x="238" y="168"/>
                        </a:lnTo>
                        <a:lnTo>
                          <a:pt x="238" y="168"/>
                        </a:lnTo>
                        <a:lnTo>
                          <a:pt x="241" y="166"/>
                        </a:lnTo>
                        <a:lnTo>
                          <a:pt x="241" y="166"/>
                        </a:lnTo>
                        <a:lnTo>
                          <a:pt x="245" y="163"/>
                        </a:lnTo>
                        <a:lnTo>
                          <a:pt x="245" y="163"/>
                        </a:lnTo>
                        <a:lnTo>
                          <a:pt x="248" y="163"/>
                        </a:lnTo>
                        <a:lnTo>
                          <a:pt x="248" y="163"/>
                        </a:lnTo>
                        <a:lnTo>
                          <a:pt x="250" y="163"/>
                        </a:lnTo>
                        <a:lnTo>
                          <a:pt x="250" y="163"/>
                        </a:lnTo>
                        <a:lnTo>
                          <a:pt x="250" y="163"/>
                        </a:lnTo>
                        <a:lnTo>
                          <a:pt x="250" y="163"/>
                        </a:lnTo>
                        <a:lnTo>
                          <a:pt x="255" y="161"/>
                        </a:lnTo>
                        <a:lnTo>
                          <a:pt x="255" y="161"/>
                        </a:lnTo>
                        <a:lnTo>
                          <a:pt x="255" y="161"/>
                        </a:lnTo>
                        <a:lnTo>
                          <a:pt x="255" y="161"/>
                        </a:lnTo>
                        <a:lnTo>
                          <a:pt x="255" y="159"/>
                        </a:lnTo>
                        <a:lnTo>
                          <a:pt x="255" y="159"/>
                        </a:lnTo>
                        <a:lnTo>
                          <a:pt x="255" y="156"/>
                        </a:lnTo>
                        <a:lnTo>
                          <a:pt x="255" y="156"/>
                        </a:lnTo>
                        <a:lnTo>
                          <a:pt x="255" y="156"/>
                        </a:lnTo>
                        <a:lnTo>
                          <a:pt x="255" y="156"/>
                        </a:lnTo>
                        <a:lnTo>
                          <a:pt x="252" y="154"/>
                        </a:lnTo>
                        <a:lnTo>
                          <a:pt x="252" y="154"/>
                        </a:lnTo>
                        <a:lnTo>
                          <a:pt x="250" y="154"/>
                        </a:lnTo>
                        <a:lnTo>
                          <a:pt x="250" y="154"/>
                        </a:lnTo>
                        <a:lnTo>
                          <a:pt x="248" y="151"/>
                        </a:lnTo>
                        <a:lnTo>
                          <a:pt x="248" y="151"/>
                        </a:lnTo>
                        <a:lnTo>
                          <a:pt x="248" y="149"/>
                        </a:lnTo>
                        <a:lnTo>
                          <a:pt x="248" y="149"/>
                        </a:lnTo>
                        <a:lnTo>
                          <a:pt x="243" y="142"/>
                        </a:lnTo>
                        <a:lnTo>
                          <a:pt x="243" y="142"/>
                        </a:lnTo>
                        <a:lnTo>
                          <a:pt x="243" y="137"/>
                        </a:lnTo>
                        <a:lnTo>
                          <a:pt x="243" y="137"/>
                        </a:lnTo>
                        <a:lnTo>
                          <a:pt x="245" y="128"/>
                        </a:lnTo>
                        <a:lnTo>
                          <a:pt x="245" y="128"/>
                        </a:lnTo>
                        <a:lnTo>
                          <a:pt x="252" y="125"/>
                        </a:lnTo>
                        <a:lnTo>
                          <a:pt x="252" y="125"/>
                        </a:lnTo>
                        <a:lnTo>
                          <a:pt x="248" y="118"/>
                        </a:lnTo>
                        <a:lnTo>
                          <a:pt x="248" y="118"/>
                        </a:lnTo>
                        <a:lnTo>
                          <a:pt x="248" y="118"/>
                        </a:lnTo>
                        <a:lnTo>
                          <a:pt x="248" y="118"/>
                        </a:lnTo>
                        <a:lnTo>
                          <a:pt x="245" y="116"/>
                        </a:lnTo>
                        <a:lnTo>
                          <a:pt x="245" y="116"/>
                        </a:lnTo>
                        <a:lnTo>
                          <a:pt x="245" y="114"/>
                        </a:lnTo>
                        <a:lnTo>
                          <a:pt x="245" y="114"/>
                        </a:lnTo>
                        <a:lnTo>
                          <a:pt x="245" y="111"/>
                        </a:lnTo>
                        <a:lnTo>
                          <a:pt x="245" y="111"/>
                        </a:lnTo>
                        <a:lnTo>
                          <a:pt x="245" y="109"/>
                        </a:lnTo>
                        <a:lnTo>
                          <a:pt x="245" y="109"/>
                        </a:lnTo>
                        <a:lnTo>
                          <a:pt x="248" y="109"/>
                        </a:lnTo>
                        <a:lnTo>
                          <a:pt x="248" y="109"/>
                        </a:lnTo>
                        <a:lnTo>
                          <a:pt x="248" y="109"/>
                        </a:lnTo>
                        <a:lnTo>
                          <a:pt x="248" y="109"/>
                        </a:lnTo>
                        <a:lnTo>
                          <a:pt x="248" y="109"/>
                        </a:lnTo>
                        <a:lnTo>
                          <a:pt x="248" y="109"/>
                        </a:lnTo>
                        <a:lnTo>
                          <a:pt x="250" y="111"/>
                        </a:lnTo>
                        <a:lnTo>
                          <a:pt x="250" y="111"/>
                        </a:lnTo>
                        <a:lnTo>
                          <a:pt x="250" y="111"/>
                        </a:lnTo>
                        <a:lnTo>
                          <a:pt x="250" y="111"/>
                        </a:lnTo>
                        <a:lnTo>
                          <a:pt x="252" y="111"/>
                        </a:lnTo>
                        <a:lnTo>
                          <a:pt x="252" y="111"/>
                        </a:lnTo>
                        <a:lnTo>
                          <a:pt x="257" y="104"/>
                        </a:lnTo>
                        <a:lnTo>
                          <a:pt x="257" y="104"/>
                        </a:lnTo>
                        <a:lnTo>
                          <a:pt x="257" y="102"/>
                        </a:lnTo>
                        <a:lnTo>
                          <a:pt x="257" y="102"/>
                        </a:lnTo>
                        <a:lnTo>
                          <a:pt x="257" y="102"/>
                        </a:lnTo>
                        <a:lnTo>
                          <a:pt x="257" y="102"/>
                        </a:lnTo>
                        <a:lnTo>
                          <a:pt x="255" y="95"/>
                        </a:lnTo>
                        <a:lnTo>
                          <a:pt x="255" y="95"/>
                        </a:lnTo>
                        <a:lnTo>
                          <a:pt x="255" y="95"/>
                        </a:lnTo>
                        <a:lnTo>
                          <a:pt x="255" y="95"/>
                        </a:lnTo>
                        <a:lnTo>
                          <a:pt x="252" y="95"/>
                        </a:lnTo>
                        <a:lnTo>
                          <a:pt x="252" y="95"/>
                        </a:lnTo>
                        <a:lnTo>
                          <a:pt x="250" y="95"/>
                        </a:lnTo>
                        <a:lnTo>
                          <a:pt x="250" y="95"/>
                        </a:lnTo>
                        <a:lnTo>
                          <a:pt x="250" y="95"/>
                        </a:lnTo>
                        <a:lnTo>
                          <a:pt x="250" y="95"/>
                        </a:lnTo>
                        <a:lnTo>
                          <a:pt x="245" y="95"/>
                        </a:lnTo>
                        <a:lnTo>
                          <a:pt x="245" y="95"/>
                        </a:lnTo>
                        <a:lnTo>
                          <a:pt x="245" y="95"/>
                        </a:lnTo>
                        <a:lnTo>
                          <a:pt x="245" y="95"/>
                        </a:lnTo>
                        <a:lnTo>
                          <a:pt x="243" y="90"/>
                        </a:lnTo>
                        <a:lnTo>
                          <a:pt x="243" y="90"/>
                        </a:lnTo>
                        <a:lnTo>
                          <a:pt x="241" y="88"/>
                        </a:lnTo>
                        <a:lnTo>
                          <a:pt x="241" y="88"/>
                        </a:lnTo>
                        <a:lnTo>
                          <a:pt x="238" y="83"/>
                        </a:lnTo>
                        <a:lnTo>
                          <a:pt x="238" y="83"/>
                        </a:lnTo>
                        <a:lnTo>
                          <a:pt x="231" y="78"/>
                        </a:lnTo>
                        <a:lnTo>
                          <a:pt x="231" y="78"/>
                        </a:lnTo>
                        <a:lnTo>
                          <a:pt x="224" y="73"/>
                        </a:lnTo>
                        <a:lnTo>
                          <a:pt x="224" y="73"/>
                        </a:lnTo>
                        <a:lnTo>
                          <a:pt x="217" y="71"/>
                        </a:lnTo>
                        <a:lnTo>
                          <a:pt x="217" y="71"/>
                        </a:lnTo>
                        <a:lnTo>
                          <a:pt x="208" y="64"/>
                        </a:lnTo>
                        <a:lnTo>
                          <a:pt x="208" y="64"/>
                        </a:lnTo>
                        <a:lnTo>
                          <a:pt x="205" y="59"/>
                        </a:lnTo>
                        <a:lnTo>
                          <a:pt x="205" y="59"/>
                        </a:lnTo>
                        <a:lnTo>
                          <a:pt x="198" y="57"/>
                        </a:lnTo>
                        <a:lnTo>
                          <a:pt x="198" y="57"/>
                        </a:lnTo>
                        <a:lnTo>
                          <a:pt x="198" y="57"/>
                        </a:lnTo>
                        <a:lnTo>
                          <a:pt x="198" y="57"/>
                        </a:lnTo>
                        <a:lnTo>
                          <a:pt x="196" y="59"/>
                        </a:lnTo>
                        <a:lnTo>
                          <a:pt x="196" y="59"/>
                        </a:lnTo>
                        <a:lnTo>
                          <a:pt x="196" y="59"/>
                        </a:lnTo>
                        <a:lnTo>
                          <a:pt x="196" y="59"/>
                        </a:lnTo>
                        <a:lnTo>
                          <a:pt x="179" y="59"/>
                        </a:lnTo>
                        <a:lnTo>
                          <a:pt x="179" y="59"/>
                        </a:lnTo>
                        <a:lnTo>
                          <a:pt x="167" y="62"/>
                        </a:lnTo>
                        <a:lnTo>
                          <a:pt x="167" y="62"/>
                        </a:lnTo>
                        <a:lnTo>
                          <a:pt x="158" y="62"/>
                        </a:lnTo>
                        <a:lnTo>
                          <a:pt x="158" y="62"/>
                        </a:lnTo>
                        <a:lnTo>
                          <a:pt x="156" y="59"/>
                        </a:lnTo>
                        <a:lnTo>
                          <a:pt x="156" y="59"/>
                        </a:lnTo>
                        <a:lnTo>
                          <a:pt x="151" y="55"/>
                        </a:lnTo>
                        <a:lnTo>
                          <a:pt x="151" y="55"/>
                        </a:lnTo>
                        <a:lnTo>
                          <a:pt x="149" y="55"/>
                        </a:lnTo>
                        <a:lnTo>
                          <a:pt x="149" y="55"/>
                        </a:lnTo>
                        <a:lnTo>
                          <a:pt x="149" y="50"/>
                        </a:lnTo>
                        <a:lnTo>
                          <a:pt x="149" y="50"/>
                        </a:lnTo>
                        <a:lnTo>
                          <a:pt x="146" y="47"/>
                        </a:lnTo>
                        <a:lnTo>
                          <a:pt x="146" y="47"/>
                        </a:lnTo>
                        <a:lnTo>
                          <a:pt x="146" y="45"/>
                        </a:lnTo>
                        <a:lnTo>
                          <a:pt x="146" y="45"/>
                        </a:lnTo>
                        <a:lnTo>
                          <a:pt x="146" y="38"/>
                        </a:lnTo>
                        <a:lnTo>
                          <a:pt x="146" y="38"/>
                        </a:lnTo>
                        <a:lnTo>
                          <a:pt x="146" y="36"/>
                        </a:lnTo>
                        <a:lnTo>
                          <a:pt x="146" y="36"/>
                        </a:lnTo>
                        <a:lnTo>
                          <a:pt x="151" y="31"/>
                        </a:lnTo>
                        <a:lnTo>
                          <a:pt x="151" y="31"/>
                        </a:lnTo>
                        <a:lnTo>
                          <a:pt x="151" y="29"/>
                        </a:lnTo>
                        <a:lnTo>
                          <a:pt x="151" y="29"/>
                        </a:lnTo>
                        <a:lnTo>
                          <a:pt x="151" y="29"/>
                        </a:lnTo>
                        <a:lnTo>
                          <a:pt x="151" y="29"/>
                        </a:lnTo>
                        <a:lnTo>
                          <a:pt x="153" y="31"/>
                        </a:lnTo>
                        <a:lnTo>
                          <a:pt x="153" y="31"/>
                        </a:lnTo>
                        <a:lnTo>
                          <a:pt x="153" y="31"/>
                        </a:lnTo>
                        <a:lnTo>
                          <a:pt x="153" y="31"/>
                        </a:lnTo>
                        <a:lnTo>
                          <a:pt x="158" y="29"/>
                        </a:lnTo>
                        <a:lnTo>
                          <a:pt x="158" y="29"/>
                        </a:lnTo>
                        <a:lnTo>
                          <a:pt x="158" y="26"/>
                        </a:lnTo>
                        <a:lnTo>
                          <a:pt x="158" y="26"/>
                        </a:lnTo>
                        <a:lnTo>
                          <a:pt x="158" y="24"/>
                        </a:lnTo>
                        <a:lnTo>
                          <a:pt x="158" y="24"/>
                        </a:lnTo>
                        <a:lnTo>
                          <a:pt x="158" y="24"/>
                        </a:lnTo>
                        <a:lnTo>
                          <a:pt x="158" y="24"/>
                        </a:lnTo>
                        <a:lnTo>
                          <a:pt x="153" y="24"/>
                        </a:lnTo>
                        <a:lnTo>
                          <a:pt x="153" y="24"/>
                        </a:lnTo>
                        <a:lnTo>
                          <a:pt x="153" y="24"/>
                        </a:lnTo>
                        <a:lnTo>
                          <a:pt x="153" y="24"/>
                        </a:lnTo>
                        <a:lnTo>
                          <a:pt x="151" y="24"/>
                        </a:lnTo>
                        <a:lnTo>
                          <a:pt x="151" y="24"/>
                        </a:lnTo>
                        <a:lnTo>
                          <a:pt x="151" y="24"/>
                        </a:lnTo>
                        <a:lnTo>
                          <a:pt x="151" y="24"/>
                        </a:lnTo>
                        <a:lnTo>
                          <a:pt x="153" y="21"/>
                        </a:lnTo>
                        <a:lnTo>
                          <a:pt x="153" y="21"/>
                        </a:lnTo>
                        <a:lnTo>
                          <a:pt x="158" y="19"/>
                        </a:lnTo>
                        <a:lnTo>
                          <a:pt x="158" y="19"/>
                        </a:lnTo>
                        <a:lnTo>
                          <a:pt x="163" y="21"/>
                        </a:lnTo>
                        <a:lnTo>
                          <a:pt x="163" y="21"/>
                        </a:lnTo>
                        <a:lnTo>
                          <a:pt x="163" y="21"/>
                        </a:lnTo>
                        <a:lnTo>
                          <a:pt x="163" y="21"/>
                        </a:lnTo>
                        <a:lnTo>
                          <a:pt x="175" y="14"/>
                        </a:lnTo>
                        <a:lnTo>
                          <a:pt x="175" y="14"/>
                        </a:lnTo>
                        <a:lnTo>
                          <a:pt x="177" y="12"/>
                        </a:lnTo>
                        <a:lnTo>
                          <a:pt x="177" y="12"/>
                        </a:lnTo>
                        <a:lnTo>
                          <a:pt x="184" y="7"/>
                        </a:lnTo>
                        <a:lnTo>
                          <a:pt x="184" y="7"/>
                        </a:lnTo>
                        <a:lnTo>
                          <a:pt x="189" y="3"/>
                        </a:lnTo>
                        <a:lnTo>
                          <a:pt x="189" y="3"/>
                        </a:lnTo>
                        <a:lnTo>
                          <a:pt x="189" y="3"/>
                        </a:lnTo>
                        <a:lnTo>
                          <a:pt x="189" y="3"/>
                        </a:lnTo>
                        <a:lnTo>
                          <a:pt x="189" y="3"/>
                        </a:lnTo>
                        <a:lnTo>
                          <a:pt x="189" y="3"/>
                        </a:lnTo>
                        <a:lnTo>
                          <a:pt x="191" y="5"/>
                        </a:lnTo>
                        <a:lnTo>
                          <a:pt x="191" y="5"/>
                        </a:lnTo>
                        <a:lnTo>
                          <a:pt x="191" y="5"/>
                        </a:lnTo>
                        <a:lnTo>
                          <a:pt x="191" y="5"/>
                        </a:lnTo>
                        <a:lnTo>
                          <a:pt x="201" y="5"/>
                        </a:lnTo>
                        <a:lnTo>
                          <a:pt x="201" y="5"/>
                        </a:lnTo>
                        <a:lnTo>
                          <a:pt x="212" y="7"/>
                        </a:lnTo>
                        <a:lnTo>
                          <a:pt x="212" y="7"/>
                        </a:lnTo>
                        <a:lnTo>
                          <a:pt x="217" y="7"/>
                        </a:lnTo>
                        <a:lnTo>
                          <a:pt x="217" y="7"/>
                        </a:lnTo>
                        <a:lnTo>
                          <a:pt x="229" y="5"/>
                        </a:lnTo>
                        <a:lnTo>
                          <a:pt x="229" y="5"/>
                        </a:lnTo>
                        <a:lnTo>
                          <a:pt x="234" y="3"/>
                        </a:lnTo>
                        <a:lnTo>
                          <a:pt x="234" y="3"/>
                        </a:lnTo>
                        <a:lnTo>
                          <a:pt x="238" y="0"/>
                        </a:lnTo>
                        <a:lnTo>
                          <a:pt x="238" y="0"/>
                        </a:lnTo>
                        <a:lnTo>
                          <a:pt x="243" y="0"/>
                        </a:lnTo>
                        <a:lnTo>
                          <a:pt x="243" y="0"/>
                        </a:lnTo>
                        <a:lnTo>
                          <a:pt x="271" y="12"/>
                        </a:lnTo>
                        <a:lnTo>
                          <a:pt x="271" y="12"/>
                        </a:lnTo>
                        <a:lnTo>
                          <a:pt x="276" y="14"/>
                        </a:lnTo>
                        <a:lnTo>
                          <a:pt x="276" y="14"/>
                        </a:lnTo>
                        <a:lnTo>
                          <a:pt x="276" y="14"/>
                        </a:lnTo>
                        <a:lnTo>
                          <a:pt x="276" y="14"/>
                        </a:lnTo>
                        <a:lnTo>
                          <a:pt x="276" y="17"/>
                        </a:lnTo>
                        <a:lnTo>
                          <a:pt x="276" y="17"/>
                        </a:lnTo>
                        <a:lnTo>
                          <a:pt x="278" y="19"/>
                        </a:lnTo>
                        <a:lnTo>
                          <a:pt x="278" y="19"/>
                        </a:lnTo>
                        <a:lnTo>
                          <a:pt x="286" y="24"/>
                        </a:lnTo>
                        <a:lnTo>
                          <a:pt x="286" y="24"/>
                        </a:lnTo>
                        <a:lnTo>
                          <a:pt x="288" y="24"/>
                        </a:lnTo>
                        <a:lnTo>
                          <a:pt x="288" y="24"/>
                        </a:lnTo>
                        <a:lnTo>
                          <a:pt x="288" y="24"/>
                        </a:lnTo>
                        <a:lnTo>
                          <a:pt x="288" y="24"/>
                        </a:lnTo>
                        <a:lnTo>
                          <a:pt x="288" y="24"/>
                        </a:lnTo>
                        <a:lnTo>
                          <a:pt x="288" y="24"/>
                        </a:lnTo>
                        <a:lnTo>
                          <a:pt x="290" y="24"/>
                        </a:lnTo>
                        <a:lnTo>
                          <a:pt x="290" y="24"/>
                        </a:lnTo>
                        <a:lnTo>
                          <a:pt x="302" y="29"/>
                        </a:lnTo>
                        <a:lnTo>
                          <a:pt x="302" y="29"/>
                        </a:lnTo>
                        <a:lnTo>
                          <a:pt x="307" y="33"/>
                        </a:lnTo>
                        <a:lnTo>
                          <a:pt x="307" y="33"/>
                        </a:lnTo>
                        <a:lnTo>
                          <a:pt x="309" y="36"/>
                        </a:lnTo>
                        <a:lnTo>
                          <a:pt x="309" y="36"/>
                        </a:lnTo>
                        <a:lnTo>
                          <a:pt x="312" y="38"/>
                        </a:lnTo>
                        <a:lnTo>
                          <a:pt x="312" y="38"/>
                        </a:lnTo>
                        <a:lnTo>
                          <a:pt x="316" y="36"/>
                        </a:lnTo>
                        <a:lnTo>
                          <a:pt x="316" y="36"/>
                        </a:lnTo>
                        <a:lnTo>
                          <a:pt x="323" y="31"/>
                        </a:lnTo>
                        <a:lnTo>
                          <a:pt x="323" y="31"/>
                        </a:lnTo>
                        <a:lnTo>
                          <a:pt x="328" y="31"/>
                        </a:lnTo>
                        <a:lnTo>
                          <a:pt x="328" y="31"/>
                        </a:lnTo>
                        <a:lnTo>
                          <a:pt x="328" y="31"/>
                        </a:lnTo>
                        <a:lnTo>
                          <a:pt x="328" y="31"/>
                        </a:lnTo>
                        <a:lnTo>
                          <a:pt x="328" y="33"/>
                        </a:lnTo>
                        <a:lnTo>
                          <a:pt x="328" y="33"/>
                        </a:lnTo>
                        <a:lnTo>
                          <a:pt x="328" y="36"/>
                        </a:lnTo>
                        <a:lnTo>
                          <a:pt x="328" y="36"/>
                        </a:lnTo>
                        <a:lnTo>
                          <a:pt x="328" y="38"/>
                        </a:lnTo>
                        <a:lnTo>
                          <a:pt x="328" y="38"/>
                        </a:lnTo>
                        <a:lnTo>
                          <a:pt x="328" y="38"/>
                        </a:lnTo>
                        <a:lnTo>
                          <a:pt x="328" y="38"/>
                        </a:lnTo>
                        <a:lnTo>
                          <a:pt x="328" y="38"/>
                        </a:lnTo>
                        <a:lnTo>
                          <a:pt x="328" y="38"/>
                        </a:lnTo>
                        <a:lnTo>
                          <a:pt x="328" y="40"/>
                        </a:lnTo>
                        <a:lnTo>
                          <a:pt x="328" y="40"/>
                        </a:lnTo>
                        <a:lnTo>
                          <a:pt x="342" y="43"/>
                        </a:lnTo>
                        <a:lnTo>
                          <a:pt x="342" y="43"/>
                        </a:lnTo>
                        <a:lnTo>
                          <a:pt x="352" y="47"/>
                        </a:lnTo>
                        <a:lnTo>
                          <a:pt x="352" y="47"/>
                        </a:lnTo>
                        <a:lnTo>
                          <a:pt x="356" y="43"/>
                        </a:lnTo>
                        <a:lnTo>
                          <a:pt x="356" y="43"/>
                        </a:lnTo>
                        <a:lnTo>
                          <a:pt x="356" y="43"/>
                        </a:lnTo>
                        <a:lnTo>
                          <a:pt x="356" y="43"/>
                        </a:lnTo>
                        <a:lnTo>
                          <a:pt x="359" y="40"/>
                        </a:lnTo>
                        <a:lnTo>
                          <a:pt x="359" y="40"/>
                        </a:lnTo>
                        <a:lnTo>
                          <a:pt x="361" y="40"/>
                        </a:lnTo>
                        <a:lnTo>
                          <a:pt x="361" y="40"/>
                        </a:lnTo>
                        <a:lnTo>
                          <a:pt x="364" y="43"/>
                        </a:lnTo>
                        <a:lnTo>
                          <a:pt x="364" y="43"/>
                        </a:lnTo>
                        <a:lnTo>
                          <a:pt x="373" y="43"/>
                        </a:lnTo>
                        <a:lnTo>
                          <a:pt x="373" y="43"/>
                        </a:lnTo>
                        <a:lnTo>
                          <a:pt x="392" y="47"/>
                        </a:lnTo>
                        <a:lnTo>
                          <a:pt x="392" y="47"/>
                        </a:lnTo>
                        <a:lnTo>
                          <a:pt x="394" y="47"/>
                        </a:lnTo>
                        <a:lnTo>
                          <a:pt x="394" y="47"/>
                        </a:lnTo>
                        <a:lnTo>
                          <a:pt x="394" y="47"/>
                        </a:lnTo>
                        <a:lnTo>
                          <a:pt x="394" y="47"/>
                        </a:lnTo>
                        <a:lnTo>
                          <a:pt x="397" y="55"/>
                        </a:lnTo>
                        <a:lnTo>
                          <a:pt x="397" y="55"/>
                        </a:lnTo>
                        <a:lnTo>
                          <a:pt x="399" y="64"/>
                        </a:lnTo>
                        <a:lnTo>
                          <a:pt x="399" y="64"/>
                        </a:lnTo>
                        <a:lnTo>
                          <a:pt x="401" y="73"/>
                        </a:lnTo>
                        <a:lnTo>
                          <a:pt x="401" y="73"/>
                        </a:lnTo>
                        <a:lnTo>
                          <a:pt x="404" y="85"/>
                        </a:lnTo>
                        <a:lnTo>
                          <a:pt x="404" y="85"/>
                        </a:lnTo>
                        <a:lnTo>
                          <a:pt x="406" y="92"/>
                        </a:lnTo>
                        <a:lnTo>
                          <a:pt x="406" y="92"/>
                        </a:lnTo>
                        <a:lnTo>
                          <a:pt x="406" y="95"/>
                        </a:lnTo>
                        <a:lnTo>
                          <a:pt x="406" y="95"/>
                        </a:lnTo>
                        <a:lnTo>
                          <a:pt x="406" y="97"/>
                        </a:lnTo>
                        <a:lnTo>
                          <a:pt x="406" y="97"/>
                        </a:lnTo>
                        <a:lnTo>
                          <a:pt x="404" y="102"/>
                        </a:lnTo>
                        <a:lnTo>
                          <a:pt x="404" y="102"/>
                        </a:lnTo>
                        <a:lnTo>
                          <a:pt x="397" y="107"/>
                        </a:lnTo>
                        <a:lnTo>
                          <a:pt x="397" y="107"/>
                        </a:lnTo>
                        <a:lnTo>
                          <a:pt x="397" y="109"/>
                        </a:lnTo>
                        <a:lnTo>
                          <a:pt x="397" y="109"/>
                        </a:lnTo>
                        <a:lnTo>
                          <a:pt x="394" y="116"/>
                        </a:lnTo>
                        <a:lnTo>
                          <a:pt x="394" y="116"/>
                        </a:lnTo>
                        <a:lnTo>
                          <a:pt x="394" y="121"/>
                        </a:lnTo>
                        <a:lnTo>
                          <a:pt x="394" y="121"/>
                        </a:lnTo>
                        <a:lnTo>
                          <a:pt x="397" y="128"/>
                        </a:lnTo>
                        <a:lnTo>
                          <a:pt x="397" y="128"/>
                        </a:lnTo>
                        <a:lnTo>
                          <a:pt x="401" y="133"/>
                        </a:lnTo>
                        <a:lnTo>
                          <a:pt x="401" y="133"/>
                        </a:lnTo>
                        <a:lnTo>
                          <a:pt x="406" y="137"/>
                        </a:lnTo>
                        <a:lnTo>
                          <a:pt x="406" y="137"/>
                        </a:lnTo>
                        <a:lnTo>
                          <a:pt x="408" y="140"/>
                        </a:lnTo>
                        <a:lnTo>
                          <a:pt x="408" y="140"/>
                        </a:lnTo>
                        <a:lnTo>
                          <a:pt x="413" y="137"/>
                        </a:lnTo>
                        <a:lnTo>
                          <a:pt x="413" y="137"/>
                        </a:lnTo>
                        <a:lnTo>
                          <a:pt x="415" y="142"/>
                        </a:lnTo>
                        <a:lnTo>
                          <a:pt x="415" y="142"/>
                        </a:lnTo>
                        <a:lnTo>
                          <a:pt x="415" y="144"/>
                        </a:lnTo>
                        <a:lnTo>
                          <a:pt x="415" y="144"/>
                        </a:lnTo>
                        <a:lnTo>
                          <a:pt x="415" y="151"/>
                        </a:lnTo>
                        <a:lnTo>
                          <a:pt x="415" y="151"/>
                        </a:lnTo>
                        <a:lnTo>
                          <a:pt x="415" y="154"/>
                        </a:lnTo>
                        <a:lnTo>
                          <a:pt x="415" y="154"/>
                        </a:lnTo>
                        <a:lnTo>
                          <a:pt x="413" y="154"/>
                        </a:lnTo>
                        <a:lnTo>
                          <a:pt x="413" y="154"/>
                        </a:lnTo>
                        <a:lnTo>
                          <a:pt x="411" y="151"/>
                        </a:lnTo>
                        <a:lnTo>
                          <a:pt x="411" y="151"/>
                        </a:lnTo>
                        <a:lnTo>
                          <a:pt x="408" y="151"/>
                        </a:lnTo>
                        <a:lnTo>
                          <a:pt x="408" y="151"/>
                        </a:lnTo>
                        <a:lnTo>
                          <a:pt x="406" y="154"/>
                        </a:lnTo>
                        <a:lnTo>
                          <a:pt x="406" y="154"/>
                        </a:lnTo>
                        <a:lnTo>
                          <a:pt x="399" y="161"/>
                        </a:lnTo>
                        <a:lnTo>
                          <a:pt x="399" y="161"/>
                        </a:lnTo>
                        <a:lnTo>
                          <a:pt x="397" y="168"/>
                        </a:lnTo>
                        <a:lnTo>
                          <a:pt x="397" y="168"/>
                        </a:lnTo>
                        <a:lnTo>
                          <a:pt x="394" y="175"/>
                        </a:lnTo>
                        <a:lnTo>
                          <a:pt x="394" y="175"/>
                        </a:lnTo>
                        <a:lnTo>
                          <a:pt x="392" y="177"/>
                        </a:lnTo>
                        <a:lnTo>
                          <a:pt x="392" y="177"/>
                        </a:lnTo>
                        <a:lnTo>
                          <a:pt x="389" y="180"/>
                        </a:lnTo>
                        <a:lnTo>
                          <a:pt x="389" y="180"/>
                        </a:lnTo>
                        <a:lnTo>
                          <a:pt x="385" y="180"/>
                        </a:lnTo>
                        <a:lnTo>
                          <a:pt x="385" y="180"/>
                        </a:lnTo>
                        <a:lnTo>
                          <a:pt x="380" y="182"/>
                        </a:lnTo>
                        <a:lnTo>
                          <a:pt x="380" y="182"/>
                        </a:lnTo>
                        <a:lnTo>
                          <a:pt x="378" y="187"/>
                        </a:lnTo>
                        <a:lnTo>
                          <a:pt x="378" y="187"/>
                        </a:lnTo>
                        <a:lnTo>
                          <a:pt x="380" y="189"/>
                        </a:lnTo>
                        <a:lnTo>
                          <a:pt x="380" y="189"/>
                        </a:lnTo>
                        <a:lnTo>
                          <a:pt x="382" y="192"/>
                        </a:lnTo>
                        <a:lnTo>
                          <a:pt x="382" y="192"/>
                        </a:lnTo>
                        <a:lnTo>
                          <a:pt x="385" y="194"/>
                        </a:lnTo>
                        <a:lnTo>
                          <a:pt x="385" y="194"/>
                        </a:lnTo>
                        <a:lnTo>
                          <a:pt x="387" y="199"/>
                        </a:lnTo>
                        <a:lnTo>
                          <a:pt x="387" y="199"/>
                        </a:lnTo>
                        <a:lnTo>
                          <a:pt x="387" y="203"/>
                        </a:lnTo>
                        <a:lnTo>
                          <a:pt x="387" y="203"/>
                        </a:lnTo>
                        <a:lnTo>
                          <a:pt x="387" y="206"/>
                        </a:lnTo>
                        <a:lnTo>
                          <a:pt x="387" y="206"/>
                        </a:lnTo>
                        <a:lnTo>
                          <a:pt x="389" y="218"/>
                        </a:lnTo>
                        <a:lnTo>
                          <a:pt x="389" y="218"/>
                        </a:lnTo>
                        <a:lnTo>
                          <a:pt x="389" y="220"/>
                        </a:lnTo>
                        <a:lnTo>
                          <a:pt x="389" y="220"/>
                        </a:lnTo>
                        <a:lnTo>
                          <a:pt x="389" y="225"/>
                        </a:lnTo>
                        <a:lnTo>
                          <a:pt x="389" y="225"/>
                        </a:lnTo>
                        <a:lnTo>
                          <a:pt x="387" y="227"/>
                        </a:lnTo>
                        <a:lnTo>
                          <a:pt x="387" y="227"/>
                        </a:lnTo>
                        <a:lnTo>
                          <a:pt x="385" y="227"/>
                        </a:lnTo>
                        <a:lnTo>
                          <a:pt x="385" y="227"/>
                        </a:lnTo>
                        <a:lnTo>
                          <a:pt x="382" y="229"/>
                        </a:lnTo>
                        <a:lnTo>
                          <a:pt x="382" y="229"/>
                        </a:lnTo>
                        <a:lnTo>
                          <a:pt x="380" y="232"/>
                        </a:lnTo>
                        <a:lnTo>
                          <a:pt x="380" y="232"/>
                        </a:lnTo>
                        <a:lnTo>
                          <a:pt x="380" y="236"/>
                        </a:lnTo>
                        <a:lnTo>
                          <a:pt x="380" y="236"/>
                        </a:lnTo>
                        <a:lnTo>
                          <a:pt x="378" y="239"/>
                        </a:lnTo>
                        <a:lnTo>
                          <a:pt x="378" y="239"/>
                        </a:lnTo>
                        <a:lnTo>
                          <a:pt x="373" y="241"/>
                        </a:lnTo>
                        <a:lnTo>
                          <a:pt x="373" y="241"/>
                        </a:lnTo>
                        <a:lnTo>
                          <a:pt x="364" y="241"/>
                        </a:lnTo>
                        <a:lnTo>
                          <a:pt x="364" y="241"/>
                        </a:lnTo>
                        <a:lnTo>
                          <a:pt x="359" y="241"/>
                        </a:lnTo>
                        <a:lnTo>
                          <a:pt x="359" y="241"/>
                        </a:lnTo>
                        <a:lnTo>
                          <a:pt x="356" y="244"/>
                        </a:lnTo>
                        <a:lnTo>
                          <a:pt x="356" y="244"/>
                        </a:lnTo>
                        <a:lnTo>
                          <a:pt x="354" y="248"/>
                        </a:lnTo>
                        <a:lnTo>
                          <a:pt x="354" y="248"/>
                        </a:lnTo>
                        <a:lnTo>
                          <a:pt x="359" y="248"/>
                        </a:lnTo>
                        <a:lnTo>
                          <a:pt x="359" y="248"/>
                        </a:lnTo>
                        <a:lnTo>
                          <a:pt x="373" y="267"/>
                        </a:lnTo>
                        <a:lnTo>
                          <a:pt x="373" y="267"/>
                        </a:lnTo>
                        <a:lnTo>
                          <a:pt x="373" y="274"/>
                        </a:lnTo>
                        <a:lnTo>
                          <a:pt x="373" y="274"/>
                        </a:lnTo>
                        <a:lnTo>
                          <a:pt x="371" y="281"/>
                        </a:lnTo>
                        <a:lnTo>
                          <a:pt x="371" y="281"/>
                        </a:lnTo>
                        <a:lnTo>
                          <a:pt x="373" y="281"/>
                        </a:lnTo>
                        <a:lnTo>
                          <a:pt x="373" y="281"/>
                        </a:lnTo>
                        <a:lnTo>
                          <a:pt x="375" y="286"/>
                        </a:lnTo>
                        <a:lnTo>
                          <a:pt x="375" y="286"/>
                        </a:lnTo>
                        <a:lnTo>
                          <a:pt x="382" y="291"/>
                        </a:lnTo>
                        <a:lnTo>
                          <a:pt x="382" y="291"/>
                        </a:lnTo>
                        <a:lnTo>
                          <a:pt x="385" y="293"/>
                        </a:lnTo>
                        <a:lnTo>
                          <a:pt x="385" y="293"/>
                        </a:lnTo>
                        <a:lnTo>
                          <a:pt x="387" y="296"/>
                        </a:lnTo>
                        <a:lnTo>
                          <a:pt x="387" y="296"/>
                        </a:lnTo>
                        <a:lnTo>
                          <a:pt x="387" y="298"/>
                        </a:lnTo>
                        <a:lnTo>
                          <a:pt x="387" y="298"/>
                        </a:lnTo>
                        <a:lnTo>
                          <a:pt x="392" y="300"/>
                        </a:lnTo>
                        <a:lnTo>
                          <a:pt x="392" y="300"/>
                        </a:lnTo>
                        <a:lnTo>
                          <a:pt x="394" y="303"/>
                        </a:lnTo>
                        <a:lnTo>
                          <a:pt x="394" y="303"/>
                        </a:lnTo>
                        <a:lnTo>
                          <a:pt x="394" y="312"/>
                        </a:lnTo>
                        <a:lnTo>
                          <a:pt x="394" y="312"/>
                        </a:lnTo>
                        <a:lnTo>
                          <a:pt x="389" y="322"/>
                        </a:lnTo>
                        <a:lnTo>
                          <a:pt x="389" y="322"/>
                        </a:lnTo>
                        <a:lnTo>
                          <a:pt x="387" y="326"/>
                        </a:lnTo>
                        <a:lnTo>
                          <a:pt x="387" y="326"/>
                        </a:lnTo>
                        <a:lnTo>
                          <a:pt x="387" y="333"/>
                        </a:lnTo>
                        <a:lnTo>
                          <a:pt x="387" y="333"/>
                        </a:lnTo>
                        <a:lnTo>
                          <a:pt x="387" y="340"/>
                        </a:lnTo>
                        <a:lnTo>
                          <a:pt x="387" y="340"/>
                        </a:lnTo>
                        <a:lnTo>
                          <a:pt x="392" y="350"/>
                        </a:lnTo>
                        <a:lnTo>
                          <a:pt x="392" y="350"/>
                        </a:lnTo>
                        <a:lnTo>
                          <a:pt x="389" y="357"/>
                        </a:lnTo>
                        <a:lnTo>
                          <a:pt x="389" y="357"/>
                        </a:lnTo>
                        <a:lnTo>
                          <a:pt x="389" y="362"/>
                        </a:lnTo>
                        <a:lnTo>
                          <a:pt x="389" y="362"/>
                        </a:lnTo>
                        <a:lnTo>
                          <a:pt x="385" y="357"/>
                        </a:lnTo>
                        <a:lnTo>
                          <a:pt x="385" y="357"/>
                        </a:lnTo>
                        <a:lnTo>
                          <a:pt x="382" y="355"/>
                        </a:lnTo>
                        <a:lnTo>
                          <a:pt x="382" y="355"/>
                        </a:lnTo>
                        <a:lnTo>
                          <a:pt x="382" y="355"/>
                        </a:lnTo>
                        <a:lnTo>
                          <a:pt x="382" y="355"/>
                        </a:lnTo>
                        <a:lnTo>
                          <a:pt x="382" y="352"/>
                        </a:lnTo>
                        <a:lnTo>
                          <a:pt x="382" y="352"/>
                        </a:lnTo>
                        <a:lnTo>
                          <a:pt x="382" y="350"/>
                        </a:lnTo>
                        <a:lnTo>
                          <a:pt x="382" y="350"/>
                        </a:lnTo>
                        <a:lnTo>
                          <a:pt x="378" y="343"/>
                        </a:lnTo>
                        <a:lnTo>
                          <a:pt x="378" y="343"/>
                        </a:lnTo>
                        <a:lnTo>
                          <a:pt x="366" y="333"/>
                        </a:lnTo>
                        <a:lnTo>
                          <a:pt x="366" y="333"/>
                        </a:lnTo>
                        <a:lnTo>
                          <a:pt x="364" y="333"/>
                        </a:lnTo>
                        <a:lnTo>
                          <a:pt x="364" y="333"/>
                        </a:lnTo>
                        <a:lnTo>
                          <a:pt x="361" y="331"/>
                        </a:lnTo>
                        <a:lnTo>
                          <a:pt x="361" y="331"/>
                        </a:lnTo>
                        <a:lnTo>
                          <a:pt x="354" y="331"/>
                        </a:lnTo>
                        <a:lnTo>
                          <a:pt x="354" y="331"/>
                        </a:lnTo>
                        <a:lnTo>
                          <a:pt x="352" y="329"/>
                        </a:lnTo>
                        <a:lnTo>
                          <a:pt x="352" y="329"/>
                        </a:lnTo>
                        <a:lnTo>
                          <a:pt x="349" y="326"/>
                        </a:lnTo>
                        <a:lnTo>
                          <a:pt x="349" y="326"/>
                        </a:lnTo>
                        <a:lnTo>
                          <a:pt x="347" y="324"/>
                        </a:lnTo>
                        <a:lnTo>
                          <a:pt x="347" y="324"/>
                        </a:lnTo>
                        <a:lnTo>
                          <a:pt x="345" y="324"/>
                        </a:lnTo>
                        <a:lnTo>
                          <a:pt x="345" y="324"/>
                        </a:lnTo>
                        <a:lnTo>
                          <a:pt x="328" y="326"/>
                        </a:lnTo>
                        <a:lnTo>
                          <a:pt x="328" y="326"/>
                        </a:lnTo>
                        <a:lnTo>
                          <a:pt x="321" y="326"/>
                        </a:lnTo>
                        <a:lnTo>
                          <a:pt x="321" y="326"/>
                        </a:lnTo>
                        <a:lnTo>
                          <a:pt x="312" y="326"/>
                        </a:lnTo>
                        <a:lnTo>
                          <a:pt x="312" y="326"/>
                        </a:lnTo>
                        <a:lnTo>
                          <a:pt x="309" y="326"/>
                        </a:lnTo>
                        <a:lnTo>
                          <a:pt x="309" y="326"/>
                        </a:lnTo>
                        <a:lnTo>
                          <a:pt x="302" y="324"/>
                        </a:lnTo>
                        <a:lnTo>
                          <a:pt x="302" y="324"/>
                        </a:lnTo>
                        <a:lnTo>
                          <a:pt x="300" y="326"/>
                        </a:lnTo>
                        <a:lnTo>
                          <a:pt x="300" y="326"/>
                        </a:lnTo>
                        <a:lnTo>
                          <a:pt x="295" y="326"/>
                        </a:lnTo>
                        <a:lnTo>
                          <a:pt x="295" y="326"/>
                        </a:lnTo>
                        <a:lnTo>
                          <a:pt x="286" y="326"/>
                        </a:lnTo>
                        <a:lnTo>
                          <a:pt x="286" y="326"/>
                        </a:lnTo>
                        <a:lnTo>
                          <a:pt x="278" y="326"/>
                        </a:lnTo>
                        <a:lnTo>
                          <a:pt x="278" y="326"/>
                        </a:lnTo>
                        <a:lnTo>
                          <a:pt x="278" y="333"/>
                        </a:lnTo>
                        <a:lnTo>
                          <a:pt x="278" y="333"/>
                        </a:lnTo>
                        <a:lnTo>
                          <a:pt x="278" y="333"/>
                        </a:lnTo>
                        <a:lnTo>
                          <a:pt x="278" y="333"/>
                        </a:lnTo>
                        <a:lnTo>
                          <a:pt x="278" y="336"/>
                        </a:lnTo>
                        <a:lnTo>
                          <a:pt x="278" y="336"/>
                        </a:lnTo>
                        <a:lnTo>
                          <a:pt x="278" y="336"/>
                        </a:lnTo>
                        <a:lnTo>
                          <a:pt x="278" y="336"/>
                        </a:lnTo>
                        <a:lnTo>
                          <a:pt x="276" y="336"/>
                        </a:lnTo>
                        <a:lnTo>
                          <a:pt x="276" y="336"/>
                        </a:lnTo>
                        <a:lnTo>
                          <a:pt x="274" y="336"/>
                        </a:lnTo>
                        <a:lnTo>
                          <a:pt x="274" y="336"/>
                        </a:lnTo>
                        <a:lnTo>
                          <a:pt x="269" y="336"/>
                        </a:lnTo>
                        <a:lnTo>
                          <a:pt x="269" y="336"/>
                        </a:lnTo>
                        <a:lnTo>
                          <a:pt x="267" y="333"/>
                        </a:lnTo>
                        <a:lnTo>
                          <a:pt x="267" y="333"/>
                        </a:lnTo>
                        <a:lnTo>
                          <a:pt x="264" y="333"/>
                        </a:lnTo>
                        <a:lnTo>
                          <a:pt x="264" y="333"/>
                        </a:lnTo>
                        <a:lnTo>
                          <a:pt x="248" y="338"/>
                        </a:lnTo>
                        <a:lnTo>
                          <a:pt x="248" y="338"/>
                        </a:lnTo>
                        <a:lnTo>
                          <a:pt x="243" y="340"/>
                        </a:lnTo>
                        <a:lnTo>
                          <a:pt x="243" y="340"/>
                        </a:lnTo>
                        <a:lnTo>
                          <a:pt x="243" y="340"/>
                        </a:lnTo>
                        <a:lnTo>
                          <a:pt x="243" y="340"/>
                        </a:lnTo>
                        <a:lnTo>
                          <a:pt x="238" y="343"/>
                        </a:lnTo>
                        <a:lnTo>
                          <a:pt x="238" y="343"/>
                        </a:lnTo>
                        <a:lnTo>
                          <a:pt x="231" y="343"/>
                        </a:lnTo>
                        <a:lnTo>
                          <a:pt x="231" y="343"/>
                        </a:lnTo>
                        <a:lnTo>
                          <a:pt x="219" y="338"/>
                        </a:lnTo>
                        <a:lnTo>
                          <a:pt x="219" y="338"/>
                        </a:lnTo>
                        <a:lnTo>
                          <a:pt x="205" y="333"/>
                        </a:lnTo>
                        <a:lnTo>
                          <a:pt x="205" y="333"/>
                        </a:lnTo>
                        <a:lnTo>
                          <a:pt x="201" y="333"/>
                        </a:lnTo>
                        <a:lnTo>
                          <a:pt x="201" y="333"/>
                        </a:lnTo>
                        <a:lnTo>
                          <a:pt x="193" y="333"/>
                        </a:lnTo>
                        <a:lnTo>
                          <a:pt x="193" y="333"/>
                        </a:lnTo>
                        <a:lnTo>
                          <a:pt x="186" y="329"/>
                        </a:lnTo>
                        <a:lnTo>
                          <a:pt x="186" y="329"/>
                        </a:lnTo>
                        <a:lnTo>
                          <a:pt x="184" y="329"/>
                        </a:lnTo>
                        <a:lnTo>
                          <a:pt x="184" y="329"/>
                        </a:lnTo>
                        <a:lnTo>
                          <a:pt x="165" y="326"/>
                        </a:lnTo>
                        <a:lnTo>
                          <a:pt x="165" y="326"/>
                        </a:lnTo>
                        <a:lnTo>
                          <a:pt x="160" y="322"/>
                        </a:lnTo>
                        <a:lnTo>
                          <a:pt x="160" y="322"/>
                        </a:lnTo>
                        <a:lnTo>
                          <a:pt x="160" y="322"/>
                        </a:lnTo>
                        <a:lnTo>
                          <a:pt x="160" y="322"/>
                        </a:lnTo>
                        <a:lnTo>
                          <a:pt x="160" y="322"/>
                        </a:lnTo>
                        <a:lnTo>
                          <a:pt x="160" y="322"/>
                        </a:lnTo>
                        <a:lnTo>
                          <a:pt x="156" y="317"/>
                        </a:lnTo>
                        <a:lnTo>
                          <a:pt x="156" y="317"/>
                        </a:lnTo>
                        <a:lnTo>
                          <a:pt x="149" y="319"/>
                        </a:lnTo>
                        <a:lnTo>
                          <a:pt x="149" y="319"/>
                        </a:lnTo>
                        <a:lnTo>
                          <a:pt x="141" y="322"/>
                        </a:lnTo>
                        <a:lnTo>
                          <a:pt x="141" y="322"/>
                        </a:lnTo>
                        <a:lnTo>
                          <a:pt x="141" y="324"/>
                        </a:lnTo>
                        <a:lnTo>
                          <a:pt x="141" y="324"/>
                        </a:lnTo>
                        <a:lnTo>
                          <a:pt x="130" y="329"/>
                        </a:lnTo>
                        <a:lnTo>
                          <a:pt x="130" y="329"/>
                        </a:lnTo>
                        <a:lnTo>
                          <a:pt x="125" y="329"/>
                        </a:lnTo>
                        <a:lnTo>
                          <a:pt x="125" y="329"/>
                        </a:lnTo>
                        <a:lnTo>
                          <a:pt x="118" y="329"/>
                        </a:lnTo>
                        <a:lnTo>
                          <a:pt x="118" y="329"/>
                        </a:lnTo>
                        <a:lnTo>
                          <a:pt x="115" y="326"/>
                        </a:lnTo>
                        <a:lnTo>
                          <a:pt x="115" y="326"/>
                        </a:lnTo>
                        <a:lnTo>
                          <a:pt x="111" y="326"/>
                        </a:lnTo>
                        <a:lnTo>
                          <a:pt x="111" y="326"/>
                        </a:lnTo>
                        <a:lnTo>
                          <a:pt x="94" y="340"/>
                        </a:lnTo>
                        <a:lnTo>
                          <a:pt x="94" y="340"/>
                        </a:lnTo>
                        <a:lnTo>
                          <a:pt x="92" y="343"/>
                        </a:lnTo>
                        <a:lnTo>
                          <a:pt x="92" y="343"/>
                        </a:lnTo>
                        <a:lnTo>
                          <a:pt x="92" y="345"/>
                        </a:lnTo>
                        <a:lnTo>
                          <a:pt x="92" y="345"/>
                        </a:lnTo>
                        <a:lnTo>
                          <a:pt x="89" y="348"/>
                        </a:lnTo>
                        <a:lnTo>
                          <a:pt x="89" y="348"/>
                        </a:lnTo>
                        <a:lnTo>
                          <a:pt x="92" y="350"/>
                        </a:lnTo>
                        <a:lnTo>
                          <a:pt x="92" y="350"/>
                        </a:lnTo>
                        <a:lnTo>
                          <a:pt x="92" y="350"/>
                        </a:lnTo>
                        <a:lnTo>
                          <a:pt x="92" y="350"/>
                        </a:lnTo>
                        <a:lnTo>
                          <a:pt x="94" y="352"/>
                        </a:lnTo>
                        <a:lnTo>
                          <a:pt x="94" y="352"/>
                        </a:lnTo>
                        <a:lnTo>
                          <a:pt x="99" y="357"/>
                        </a:lnTo>
                        <a:lnTo>
                          <a:pt x="99" y="357"/>
                        </a:lnTo>
                        <a:lnTo>
                          <a:pt x="99" y="359"/>
                        </a:lnTo>
                        <a:lnTo>
                          <a:pt x="99" y="359"/>
                        </a:lnTo>
                        <a:lnTo>
                          <a:pt x="99" y="359"/>
                        </a:lnTo>
                        <a:lnTo>
                          <a:pt x="99" y="359"/>
                        </a:lnTo>
                        <a:lnTo>
                          <a:pt x="99" y="362"/>
                        </a:lnTo>
                        <a:lnTo>
                          <a:pt x="99" y="362"/>
                        </a:lnTo>
                        <a:lnTo>
                          <a:pt x="99" y="364"/>
                        </a:lnTo>
                        <a:lnTo>
                          <a:pt x="99" y="364"/>
                        </a:lnTo>
                        <a:lnTo>
                          <a:pt x="97" y="364"/>
                        </a:lnTo>
                        <a:lnTo>
                          <a:pt x="97" y="364"/>
                        </a:lnTo>
                        <a:lnTo>
                          <a:pt x="85" y="364"/>
                        </a:lnTo>
                        <a:lnTo>
                          <a:pt x="85" y="364"/>
                        </a:lnTo>
                        <a:lnTo>
                          <a:pt x="82" y="364"/>
                        </a:lnTo>
                        <a:lnTo>
                          <a:pt x="82" y="364"/>
                        </a:lnTo>
                        <a:lnTo>
                          <a:pt x="82" y="362"/>
                        </a:lnTo>
                        <a:lnTo>
                          <a:pt x="82" y="362"/>
                        </a:lnTo>
                        <a:lnTo>
                          <a:pt x="82" y="362"/>
                        </a:lnTo>
                        <a:lnTo>
                          <a:pt x="82" y="362"/>
                        </a:lnTo>
                        <a:lnTo>
                          <a:pt x="78" y="352"/>
                        </a:lnTo>
                        <a:lnTo>
                          <a:pt x="78" y="352"/>
                        </a:lnTo>
                        <a:lnTo>
                          <a:pt x="75" y="348"/>
                        </a:lnTo>
                        <a:lnTo>
                          <a:pt x="75" y="348"/>
                        </a:lnTo>
                        <a:lnTo>
                          <a:pt x="66" y="336"/>
                        </a:lnTo>
                        <a:lnTo>
                          <a:pt x="66" y="336"/>
                        </a:lnTo>
                        <a:lnTo>
                          <a:pt x="59" y="324"/>
                        </a:lnTo>
                        <a:lnTo>
                          <a:pt x="59" y="324"/>
                        </a:lnTo>
                        <a:lnTo>
                          <a:pt x="54" y="322"/>
                        </a:lnTo>
                        <a:lnTo>
                          <a:pt x="54" y="322"/>
                        </a:lnTo>
                        <a:lnTo>
                          <a:pt x="40" y="312"/>
                        </a:lnTo>
                        <a:lnTo>
                          <a:pt x="40" y="312"/>
                        </a:lnTo>
                        <a:lnTo>
                          <a:pt x="35" y="310"/>
                        </a:lnTo>
                        <a:lnTo>
                          <a:pt x="35" y="310"/>
                        </a:lnTo>
                        <a:lnTo>
                          <a:pt x="30" y="310"/>
                        </a:lnTo>
                        <a:lnTo>
                          <a:pt x="30" y="310"/>
                        </a:lnTo>
                        <a:lnTo>
                          <a:pt x="28" y="312"/>
                        </a:lnTo>
                        <a:lnTo>
                          <a:pt x="28" y="312"/>
                        </a:lnTo>
                        <a:lnTo>
                          <a:pt x="26" y="314"/>
                        </a:lnTo>
                        <a:lnTo>
                          <a:pt x="26" y="314"/>
                        </a:lnTo>
                        <a:lnTo>
                          <a:pt x="23" y="314"/>
                        </a:lnTo>
                        <a:lnTo>
                          <a:pt x="23" y="314"/>
                        </a:lnTo>
                        <a:lnTo>
                          <a:pt x="21" y="314"/>
                        </a:lnTo>
                        <a:lnTo>
                          <a:pt x="21" y="314"/>
                        </a:lnTo>
                        <a:lnTo>
                          <a:pt x="16" y="312"/>
                        </a:lnTo>
                        <a:lnTo>
                          <a:pt x="16" y="312"/>
                        </a:lnTo>
                        <a:lnTo>
                          <a:pt x="4" y="303"/>
                        </a:lnTo>
                        <a:lnTo>
                          <a:pt x="4" y="303"/>
                        </a:lnTo>
                        <a:lnTo>
                          <a:pt x="4" y="303"/>
                        </a:lnTo>
                        <a:lnTo>
                          <a:pt x="4" y="303"/>
                        </a:lnTo>
                        <a:lnTo>
                          <a:pt x="0" y="288"/>
                        </a:lnTo>
                        <a:lnTo>
                          <a:pt x="0" y="288"/>
                        </a:lnTo>
                        <a:lnTo>
                          <a:pt x="0" y="288"/>
                        </a:lnTo>
                        <a:lnTo>
                          <a:pt x="0" y="288"/>
                        </a:lnTo>
                        <a:lnTo>
                          <a:pt x="7" y="258"/>
                        </a:lnTo>
                        <a:lnTo>
                          <a:pt x="7" y="258"/>
                        </a:lnTo>
                        <a:lnTo>
                          <a:pt x="7" y="251"/>
                        </a:lnTo>
                        <a:lnTo>
                          <a:pt x="7" y="251"/>
                        </a:lnTo>
                        <a:lnTo>
                          <a:pt x="12" y="248"/>
                        </a:lnTo>
                        <a:lnTo>
                          <a:pt x="12" y="248"/>
                        </a:lnTo>
                        <a:lnTo>
                          <a:pt x="21" y="244"/>
                        </a:lnTo>
                        <a:lnTo>
                          <a:pt x="21" y="244"/>
                        </a:lnTo>
                        <a:lnTo>
                          <a:pt x="30" y="241"/>
                        </a:lnTo>
                        <a:lnTo>
                          <a:pt x="30" y="241"/>
                        </a:lnTo>
                        <a:lnTo>
                          <a:pt x="35" y="239"/>
                        </a:lnTo>
                        <a:lnTo>
                          <a:pt x="35" y="239"/>
                        </a:lnTo>
                        <a:lnTo>
                          <a:pt x="38" y="239"/>
                        </a:lnTo>
                        <a:lnTo>
                          <a:pt x="38" y="239"/>
                        </a:lnTo>
                        <a:lnTo>
                          <a:pt x="42" y="241"/>
                        </a:lnTo>
                        <a:lnTo>
                          <a:pt x="42" y="241"/>
                        </a:lnTo>
                        <a:lnTo>
                          <a:pt x="49" y="244"/>
                        </a:lnTo>
                        <a:lnTo>
                          <a:pt x="49" y="244"/>
                        </a:lnTo>
                        <a:lnTo>
                          <a:pt x="52" y="244"/>
                        </a:lnTo>
                        <a:lnTo>
                          <a:pt x="52" y="244"/>
                        </a:lnTo>
                        <a:lnTo>
                          <a:pt x="52" y="246"/>
                        </a:lnTo>
                        <a:lnTo>
                          <a:pt x="52" y="246"/>
                        </a:lnTo>
                        <a:lnTo>
                          <a:pt x="56" y="251"/>
                        </a:lnTo>
                        <a:lnTo>
                          <a:pt x="56" y="251"/>
                        </a:lnTo>
                        <a:lnTo>
                          <a:pt x="59" y="253"/>
                        </a:lnTo>
                        <a:lnTo>
                          <a:pt x="59" y="253"/>
                        </a:lnTo>
                        <a:lnTo>
                          <a:pt x="64" y="253"/>
                        </a:lnTo>
                        <a:lnTo>
                          <a:pt x="64" y="253"/>
                        </a:lnTo>
                        <a:lnTo>
                          <a:pt x="66" y="255"/>
                        </a:lnTo>
                        <a:lnTo>
                          <a:pt x="66" y="255"/>
                        </a:lnTo>
                        <a:lnTo>
                          <a:pt x="73" y="255"/>
                        </a:lnTo>
                        <a:lnTo>
                          <a:pt x="73" y="255"/>
                        </a:lnTo>
                        <a:lnTo>
                          <a:pt x="73" y="255"/>
                        </a:lnTo>
                        <a:lnTo>
                          <a:pt x="73" y="255"/>
                        </a:lnTo>
                        <a:lnTo>
                          <a:pt x="82" y="260"/>
                        </a:lnTo>
                        <a:lnTo>
                          <a:pt x="82" y="260"/>
                        </a:lnTo>
                        <a:lnTo>
                          <a:pt x="89" y="260"/>
                        </a:lnTo>
                        <a:lnTo>
                          <a:pt x="89" y="260"/>
                        </a:lnTo>
                        <a:lnTo>
                          <a:pt x="89" y="260"/>
                        </a:lnTo>
                        <a:lnTo>
                          <a:pt x="89" y="260"/>
                        </a:lnTo>
                        <a:lnTo>
                          <a:pt x="94" y="262"/>
                        </a:lnTo>
                        <a:lnTo>
                          <a:pt x="94" y="262"/>
                        </a:lnTo>
                        <a:lnTo>
                          <a:pt x="97" y="265"/>
                        </a:lnTo>
                        <a:lnTo>
                          <a:pt x="97" y="265"/>
                        </a:lnTo>
                        <a:lnTo>
                          <a:pt x="99" y="267"/>
                        </a:lnTo>
                        <a:lnTo>
                          <a:pt x="99" y="267"/>
                        </a:lnTo>
                        <a:lnTo>
                          <a:pt x="99" y="267"/>
                        </a:lnTo>
                        <a:lnTo>
                          <a:pt x="99" y="267"/>
                        </a:lnTo>
                        <a:lnTo>
                          <a:pt x="99" y="267"/>
                        </a:lnTo>
                        <a:lnTo>
                          <a:pt x="99" y="267"/>
                        </a:lnTo>
                        <a:lnTo>
                          <a:pt x="106" y="265"/>
                        </a:lnTo>
                        <a:lnTo>
                          <a:pt x="106" y="265"/>
                        </a:lnTo>
                        <a:lnTo>
                          <a:pt x="106" y="265"/>
                        </a:lnTo>
                        <a:lnTo>
                          <a:pt x="106" y="265"/>
                        </a:lnTo>
                        <a:lnTo>
                          <a:pt x="106" y="265"/>
                        </a:lnTo>
                        <a:lnTo>
                          <a:pt x="106" y="265"/>
                        </a:lnTo>
                        <a:lnTo>
                          <a:pt x="106" y="262"/>
                        </a:lnTo>
                        <a:lnTo>
                          <a:pt x="106" y="262"/>
                        </a:lnTo>
                        <a:lnTo>
                          <a:pt x="106" y="262"/>
                        </a:lnTo>
                        <a:lnTo>
                          <a:pt x="106" y="262"/>
                        </a:lnTo>
                        <a:lnTo>
                          <a:pt x="106" y="262"/>
                        </a:lnTo>
                        <a:lnTo>
                          <a:pt x="106" y="262"/>
                        </a:lnTo>
                        <a:lnTo>
                          <a:pt x="108" y="260"/>
                        </a:lnTo>
                        <a:lnTo>
                          <a:pt x="108" y="260"/>
                        </a:lnTo>
                        <a:lnTo>
                          <a:pt x="111" y="260"/>
                        </a:lnTo>
                        <a:lnTo>
                          <a:pt x="111" y="260"/>
                        </a:lnTo>
                        <a:lnTo>
                          <a:pt x="130" y="258"/>
                        </a:lnTo>
                        <a:lnTo>
                          <a:pt x="130" y="258"/>
                        </a:lnTo>
                        <a:lnTo>
                          <a:pt x="130" y="258"/>
                        </a:lnTo>
                        <a:lnTo>
                          <a:pt x="130" y="258"/>
                        </a:lnTo>
                        <a:lnTo>
                          <a:pt x="132" y="258"/>
                        </a:lnTo>
                        <a:lnTo>
                          <a:pt x="132" y="258"/>
                        </a:lnTo>
                        <a:lnTo>
                          <a:pt x="130" y="260"/>
                        </a:lnTo>
                        <a:lnTo>
                          <a:pt x="130" y="260"/>
                        </a:lnTo>
                        <a:lnTo>
                          <a:pt x="130" y="262"/>
                        </a:lnTo>
                        <a:lnTo>
                          <a:pt x="130" y="262"/>
                        </a:lnTo>
                        <a:lnTo>
                          <a:pt x="125" y="265"/>
                        </a:lnTo>
                        <a:lnTo>
                          <a:pt x="125" y="265"/>
                        </a:lnTo>
                        <a:lnTo>
                          <a:pt x="125" y="265"/>
                        </a:lnTo>
                        <a:lnTo>
                          <a:pt x="125" y="265"/>
                        </a:lnTo>
                        <a:lnTo>
                          <a:pt x="123" y="262"/>
                        </a:lnTo>
                        <a:lnTo>
                          <a:pt x="123" y="262"/>
                        </a:lnTo>
                        <a:lnTo>
                          <a:pt x="123" y="262"/>
                        </a:lnTo>
                        <a:lnTo>
                          <a:pt x="123" y="262"/>
                        </a:lnTo>
                        <a:lnTo>
                          <a:pt x="120" y="262"/>
                        </a:lnTo>
                        <a:lnTo>
                          <a:pt x="120" y="262"/>
                        </a:lnTo>
                        <a:lnTo>
                          <a:pt x="115" y="265"/>
                        </a:lnTo>
                        <a:lnTo>
                          <a:pt x="115" y="265"/>
                        </a:lnTo>
                        <a:lnTo>
                          <a:pt x="115" y="265"/>
                        </a:lnTo>
                        <a:lnTo>
                          <a:pt x="115" y="265"/>
                        </a:lnTo>
                        <a:lnTo>
                          <a:pt x="115" y="265"/>
                        </a:lnTo>
                        <a:lnTo>
                          <a:pt x="115" y="265"/>
                        </a:lnTo>
                        <a:lnTo>
                          <a:pt x="115" y="265"/>
                        </a:lnTo>
                        <a:lnTo>
                          <a:pt x="115" y="265"/>
                        </a:lnTo>
                        <a:lnTo>
                          <a:pt x="115" y="265"/>
                        </a:lnTo>
                        <a:lnTo>
                          <a:pt x="115" y="265"/>
                        </a:lnTo>
                        <a:lnTo>
                          <a:pt x="115" y="272"/>
                        </a:lnTo>
                        <a:lnTo>
                          <a:pt x="115" y="272"/>
                        </a:lnTo>
                        <a:lnTo>
                          <a:pt x="115" y="272"/>
                        </a:lnTo>
                        <a:lnTo>
                          <a:pt x="115" y="272"/>
                        </a:lnTo>
                        <a:lnTo>
                          <a:pt x="118" y="274"/>
                        </a:lnTo>
                        <a:lnTo>
                          <a:pt x="118" y="274"/>
                        </a:lnTo>
                        <a:lnTo>
                          <a:pt x="127" y="272"/>
                        </a:lnTo>
                        <a:lnTo>
                          <a:pt x="127" y="272"/>
                        </a:lnTo>
                        <a:lnTo>
                          <a:pt x="130" y="272"/>
                        </a:lnTo>
                        <a:lnTo>
                          <a:pt x="130" y="272"/>
                        </a:lnTo>
                        <a:lnTo>
                          <a:pt x="132" y="272"/>
                        </a:lnTo>
                        <a:lnTo>
                          <a:pt x="132" y="272"/>
                        </a:lnTo>
                        <a:lnTo>
                          <a:pt x="132" y="270"/>
                        </a:lnTo>
                        <a:lnTo>
                          <a:pt x="132" y="270"/>
                        </a:lnTo>
                        <a:lnTo>
                          <a:pt x="137" y="267"/>
                        </a:lnTo>
                        <a:lnTo>
                          <a:pt x="137" y="267"/>
                        </a:lnTo>
                        <a:lnTo>
                          <a:pt x="139" y="267"/>
                        </a:lnTo>
                        <a:lnTo>
                          <a:pt x="139" y="267"/>
                        </a:lnTo>
                        <a:lnTo>
                          <a:pt x="146" y="270"/>
                        </a:lnTo>
                        <a:lnTo>
                          <a:pt x="146" y="270"/>
                        </a:lnTo>
                        <a:lnTo>
                          <a:pt x="153" y="270"/>
                        </a:lnTo>
                        <a:lnTo>
                          <a:pt x="153" y="270"/>
                        </a:lnTo>
                        <a:lnTo>
                          <a:pt x="163" y="272"/>
                        </a:lnTo>
                        <a:lnTo>
                          <a:pt x="163" y="272"/>
                        </a:lnTo>
                        <a:lnTo>
                          <a:pt x="167" y="277"/>
                        </a:lnTo>
                        <a:lnTo>
                          <a:pt x="167" y="277"/>
                        </a:lnTo>
                        <a:lnTo>
                          <a:pt x="170" y="277"/>
                        </a:lnTo>
                        <a:lnTo>
                          <a:pt x="170" y="277"/>
                        </a:lnTo>
                        <a:lnTo>
                          <a:pt x="179" y="279"/>
                        </a:lnTo>
                        <a:lnTo>
                          <a:pt x="179" y="279"/>
                        </a:lnTo>
                        <a:lnTo>
                          <a:pt x="182" y="277"/>
                        </a:lnTo>
                        <a:lnTo>
                          <a:pt x="182" y="277"/>
                        </a:lnTo>
                        <a:lnTo>
                          <a:pt x="184" y="277"/>
                        </a:lnTo>
                        <a:lnTo>
                          <a:pt x="184" y="277"/>
                        </a:lnTo>
                        <a:lnTo>
                          <a:pt x="186" y="277"/>
                        </a:lnTo>
                        <a:lnTo>
                          <a:pt x="186" y="277"/>
                        </a:lnTo>
                        <a:lnTo>
                          <a:pt x="191" y="277"/>
                        </a:lnTo>
                        <a:lnTo>
                          <a:pt x="191" y="277"/>
                        </a:lnTo>
                        <a:lnTo>
                          <a:pt x="193" y="279"/>
                        </a:lnTo>
                        <a:lnTo>
                          <a:pt x="193" y="279"/>
                        </a:lnTo>
                        <a:lnTo>
                          <a:pt x="193" y="281"/>
                        </a:lnTo>
                        <a:lnTo>
                          <a:pt x="193" y="281"/>
                        </a:lnTo>
                        <a:lnTo>
                          <a:pt x="196" y="284"/>
                        </a:lnTo>
                        <a:lnTo>
                          <a:pt x="196" y="284"/>
                        </a:lnTo>
                        <a:lnTo>
                          <a:pt x="198" y="284"/>
                        </a:lnTo>
                        <a:lnTo>
                          <a:pt x="198" y="284"/>
                        </a:lnTo>
                        <a:lnTo>
                          <a:pt x="201" y="284"/>
                        </a:lnTo>
                        <a:lnTo>
                          <a:pt x="201" y="284"/>
                        </a:lnTo>
                        <a:lnTo>
                          <a:pt x="201" y="284"/>
                        </a:lnTo>
                        <a:lnTo>
                          <a:pt x="201" y="284"/>
                        </a:lnTo>
                        <a:lnTo>
                          <a:pt x="203" y="281"/>
                        </a:lnTo>
                        <a:lnTo>
                          <a:pt x="203" y="281"/>
                        </a:lnTo>
                        <a:lnTo>
                          <a:pt x="203" y="281"/>
                        </a:lnTo>
                        <a:lnTo>
                          <a:pt x="203" y="281"/>
                        </a:lnTo>
                        <a:lnTo>
                          <a:pt x="210" y="279"/>
                        </a:lnTo>
                        <a:lnTo>
                          <a:pt x="210" y="279"/>
                        </a:lnTo>
                        <a:lnTo>
                          <a:pt x="215" y="281"/>
                        </a:lnTo>
                        <a:lnTo>
                          <a:pt x="215" y="281"/>
                        </a:lnTo>
                        <a:lnTo>
                          <a:pt x="219" y="281"/>
                        </a:lnTo>
                        <a:lnTo>
                          <a:pt x="219" y="281"/>
                        </a:lnTo>
                        <a:lnTo>
                          <a:pt x="224" y="284"/>
                        </a:lnTo>
                        <a:lnTo>
                          <a:pt x="224" y="284"/>
                        </a:lnTo>
                        <a:lnTo>
                          <a:pt x="231" y="286"/>
                        </a:lnTo>
                        <a:lnTo>
                          <a:pt x="231" y="286"/>
                        </a:lnTo>
                        <a:lnTo>
                          <a:pt x="243" y="288"/>
                        </a:lnTo>
                        <a:lnTo>
                          <a:pt x="243" y="288"/>
                        </a:lnTo>
                        <a:lnTo>
                          <a:pt x="250" y="288"/>
                        </a:lnTo>
                        <a:lnTo>
                          <a:pt x="250" y="288"/>
                        </a:lnTo>
                        <a:lnTo>
                          <a:pt x="252" y="288"/>
                        </a:lnTo>
                        <a:lnTo>
                          <a:pt x="252" y="288"/>
                        </a:lnTo>
                        <a:lnTo>
                          <a:pt x="257" y="286"/>
                        </a:lnTo>
                        <a:lnTo>
                          <a:pt x="257" y="286"/>
                        </a:lnTo>
                        <a:lnTo>
                          <a:pt x="257" y="284"/>
                        </a:lnTo>
                        <a:lnTo>
                          <a:pt x="257" y="284"/>
                        </a:lnTo>
                        <a:lnTo>
                          <a:pt x="260" y="279"/>
                        </a:lnTo>
                        <a:lnTo>
                          <a:pt x="260" y="279"/>
                        </a:lnTo>
                        <a:lnTo>
                          <a:pt x="260" y="279"/>
                        </a:lnTo>
                        <a:lnTo>
                          <a:pt x="260" y="279"/>
                        </a:lnTo>
                        <a:lnTo>
                          <a:pt x="262" y="274"/>
                        </a:lnTo>
                        <a:lnTo>
                          <a:pt x="262" y="274"/>
                        </a:lnTo>
                        <a:lnTo>
                          <a:pt x="264" y="270"/>
                        </a:lnTo>
                        <a:lnTo>
                          <a:pt x="264" y="270"/>
                        </a:lnTo>
                        <a:lnTo>
                          <a:pt x="267" y="265"/>
                        </a:lnTo>
                        <a:lnTo>
                          <a:pt x="267" y="265"/>
                        </a:lnTo>
                        <a:lnTo>
                          <a:pt x="267" y="265"/>
                        </a:lnTo>
                        <a:lnTo>
                          <a:pt x="267" y="265"/>
                        </a:lnTo>
                        <a:lnTo>
                          <a:pt x="271" y="262"/>
                        </a:lnTo>
                        <a:lnTo>
                          <a:pt x="271" y="262"/>
                        </a:lnTo>
                        <a:lnTo>
                          <a:pt x="274" y="262"/>
                        </a:lnTo>
                        <a:lnTo>
                          <a:pt x="274" y="262"/>
                        </a:lnTo>
                        <a:lnTo>
                          <a:pt x="274" y="262"/>
                        </a:lnTo>
                        <a:lnTo>
                          <a:pt x="274" y="262"/>
                        </a:lnTo>
                        <a:lnTo>
                          <a:pt x="276" y="262"/>
                        </a:lnTo>
                        <a:lnTo>
                          <a:pt x="276" y="262"/>
                        </a:lnTo>
                        <a:lnTo>
                          <a:pt x="278" y="265"/>
                        </a:lnTo>
                        <a:lnTo>
                          <a:pt x="278" y="265"/>
                        </a:lnTo>
                        <a:lnTo>
                          <a:pt x="278" y="265"/>
                        </a:lnTo>
                        <a:lnTo>
                          <a:pt x="278" y="265"/>
                        </a:lnTo>
                        <a:lnTo>
                          <a:pt x="286" y="265"/>
                        </a:lnTo>
                        <a:lnTo>
                          <a:pt x="286" y="265"/>
                        </a:lnTo>
                        <a:lnTo>
                          <a:pt x="297" y="262"/>
                        </a:lnTo>
                        <a:lnTo>
                          <a:pt x="297" y="262"/>
                        </a:lnTo>
                        <a:lnTo>
                          <a:pt x="297" y="262"/>
                        </a:lnTo>
                        <a:lnTo>
                          <a:pt x="297" y="262"/>
                        </a:lnTo>
                        <a:lnTo>
                          <a:pt x="297" y="265"/>
                        </a:lnTo>
                        <a:lnTo>
                          <a:pt x="297" y="265"/>
                        </a:lnTo>
                        <a:lnTo>
                          <a:pt x="300" y="265"/>
                        </a:lnTo>
                        <a:lnTo>
                          <a:pt x="300" y="265"/>
                        </a:lnTo>
                        <a:lnTo>
                          <a:pt x="302" y="267"/>
                        </a:lnTo>
                        <a:lnTo>
                          <a:pt x="302" y="267"/>
                        </a:lnTo>
                        <a:lnTo>
                          <a:pt x="304" y="267"/>
                        </a:lnTo>
                        <a:lnTo>
                          <a:pt x="304" y="267"/>
                        </a:lnTo>
                        <a:lnTo>
                          <a:pt x="304" y="267"/>
                        </a:lnTo>
                        <a:lnTo>
                          <a:pt x="304" y="267"/>
                        </a:lnTo>
                        <a:lnTo>
                          <a:pt x="307" y="267"/>
                        </a:lnTo>
                        <a:lnTo>
                          <a:pt x="307" y="267"/>
                        </a:lnTo>
                        <a:lnTo>
                          <a:pt x="307" y="267"/>
                        </a:lnTo>
                        <a:lnTo>
                          <a:pt x="307" y="267"/>
                        </a:lnTo>
                        <a:close/>
                      </a:path>
                    </a:pathLst>
                  </a:custGeom>
                  <a:solidFill>
                    <a:srgbClr val="FFC000"/>
                  </a:solidFill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97" name="Freeform 1205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4033838" y="2613025"/>
                    <a:ext cx="128587" cy="85725"/>
                  </a:xfrm>
                  <a:custGeom>
                    <a:avLst/>
                    <a:gdLst/>
                    <a:ahLst/>
                    <a:cxnLst>
                      <a:cxn ang="0">
                        <a:pos x="41" y="40"/>
                      </a:cxn>
                      <a:cxn ang="0">
                        <a:pos x="38" y="37"/>
                      </a:cxn>
                      <a:cxn ang="0">
                        <a:pos x="34" y="33"/>
                      </a:cxn>
                      <a:cxn ang="0">
                        <a:pos x="26" y="28"/>
                      </a:cxn>
                      <a:cxn ang="0">
                        <a:pos x="24" y="28"/>
                      </a:cxn>
                      <a:cxn ang="0">
                        <a:pos x="19" y="28"/>
                      </a:cxn>
                      <a:cxn ang="0">
                        <a:pos x="15" y="25"/>
                      </a:cxn>
                      <a:cxn ang="0">
                        <a:pos x="10" y="23"/>
                      </a:cxn>
                      <a:cxn ang="0">
                        <a:pos x="3" y="11"/>
                      </a:cxn>
                      <a:cxn ang="0">
                        <a:pos x="0" y="9"/>
                      </a:cxn>
                      <a:cxn ang="0">
                        <a:pos x="3" y="7"/>
                      </a:cxn>
                      <a:cxn ang="0">
                        <a:pos x="3" y="4"/>
                      </a:cxn>
                      <a:cxn ang="0">
                        <a:pos x="5" y="2"/>
                      </a:cxn>
                      <a:cxn ang="0">
                        <a:pos x="8" y="2"/>
                      </a:cxn>
                      <a:cxn ang="0">
                        <a:pos x="15" y="0"/>
                      </a:cxn>
                      <a:cxn ang="0">
                        <a:pos x="19" y="2"/>
                      </a:cxn>
                      <a:cxn ang="0">
                        <a:pos x="19" y="2"/>
                      </a:cxn>
                      <a:cxn ang="0">
                        <a:pos x="22" y="4"/>
                      </a:cxn>
                      <a:cxn ang="0">
                        <a:pos x="26" y="7"/>
                      </a:cxn>
                      <a:cxn ang="0">
                        <a:pos x="31" y="9"/>
                      </a:cxn>
                      <a:cxn ang="0">
                        <a:pos x="34" y="9"/>
                      </a:cxn>
                      <a:cxn ang="0">
                        <a:pos x="36" y="9"/>
                      </a:cxn>
                      <a:cxn ang="0">
                        <a:pos x="38" y="11"/>
                      </a:cxn>
                      <a:cxn ang="0">
                        <a:pos x="41" y="11"/>
                      </a:cxn>
                      <a:cxn ang="0">
                        <a:pos x="43" y="14"/>
                      </a:cxn>
                      <a:cxn ang="0">
                        <a:pos x="48" y="18"/>
                      </a:cxn>
                      <a:cxn ang="0">
                        <a:pos x="55" y="21"/>
                      </a:cxn>
                      <a:cxn ang="0">
                        <a:pos x="57" y="23"/>
                      </a:cxn>
                      <a:cxn ang="0">
                        <a:pos x="62" y="23"/>
                      </a:cxn>
                      <a:cxn ang="0">
                        <a:pos x="62" y="23"/>
                      </a:cxn>
                      <a:cxn ang="0">
                        <a:pos x="67" y="25"/>
                      </a:cxn>
                      <a:cxn ang="0">
                        <a:pos x="74" y="35"/>
                      </a:cxn>
                      <a:cxn ang="0">
                        <a:pos x="76" y="44"/>
                      </a:cxn>
                      <a:cxn ang="0">
                        <a:pos x="74" y="51"/>
                      </a:cxn>
                      <a:cxn ang="0">
                        <a:pos x="71" y="51"/>
                      </a:cxn>
                      <a:cxn ang="0">
                        <a:pos x="71" y="51"/>
                      </a:cxn>
                      <a:cxn ang="0">
                        <a:pos x="69" y="49"/>
                      </a:cxn>
                      <a:cxn ang="0">
                        <a:pos x="64" y="47"/>
                      </a:cxn>
                      <a:cxn ang="0">
                        <a:pos x="55" y="44"/>
                      </a:cxn>
                      <a:cxn ang="0">
                        <a:pos x="52" y="42"/>
                      </a:cxn>
                      <a:cxn ang="0">
                        <a:pos x="48" y="42"/>
                      </a:cxn>
                      <a:cxn ang="0">
                        <a:pos x="45" y="42"/>
                      </a:cxn>
                      <a:cxn ang="0">
                        <a:pos x="45" y="42"/>
                      </a:cxn>
                    </a:cxnLst>
                    <a:rect l="0" t="0" r="r" b="b"/>
                    <a:pathLst>
                      <a:path w="76" h="51">
                        <a:moveTo>
                          <a:pt x="45" y="42"/>
                        </a:moveTo>
                        <a:lnTo>
                          <a:pt x="41" y="40"/>
                        </a:lnTo>
                        <a:lnTo>
                          <a:pt x="41" y="40"/>
                        </a:lnTo>
                        <a:lnTo>
                          <a:pt x="38" y="37"/>
                        </a:lnTo>
                        <a:lnTo>
                          <a:pt x="38" y="37"/>
                        </a:lnTo>
                        <a:lnTo>
                          <a:pt x="34" y="33"/>
                        </a:lnTo>
                        <a:lnTo>
                          <a:pt x="34" y="33"/>
                        </a:lnTo>
                        <a:lnTo>
                          <a:pt x="26" y="28"/>
                        </a:lnTo>
                        <a:lnTo>
                          <a:pt x="26" y="28"/>
                        </a:lnTo>
                        <a:lnTo>
                          <a:pt x="24" y="28"/>
                        </a:lnTo>
                        <a:lnTo>
                          <a:pt x="24" y="28"/>
                        </a:lnTo>
                        <a:lnTo>
                          <a:pt x="19" y="28"/>
                        </a:lnTo>
                        <a:lnTo>
                          <a:pt x="19" y="28"/>
                        </a:lnTo>
                        <a:lnTo>
                          <a:pt x="15" y="25"/>
                        </a:lnTo>
                        <a:lnTo>
                          <a:pt x="15" y="25"/>
                        </a:lnTo>
                        <a:lnTo>
                          <a:pt x="10" y="23"/>
                        </a:lnTo>
                        <a:lnTo>
                          <a:pt x="10" y="23"/>
                        </a:lnTo>
                        <a:lnTo>
                          <a:pt x="3" y="11"/>
                        </a:lnTo>
                        <a:lnTo>
                          <a:pt x="3" y="11"/>
                        </a:lnTo>
                        <a:lnTo>
                          <a:pt x="0" y="9"/>
                        </a:lnTo>
                        <a:lnTo>
                          <a:pt x="0" y="9"/>
                        </a:lnTo>
                        <a:lnTo>
                          <a:pt x="3" y="7"/>
                        </a:lnTo>
                        <a:lnTo>
                          <a:pt x="3" y="7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lnTo>
                          <a:pt x="5" y="2"/>
                        </a:lnTo>
                        <a:lnTo>
                          <a:pt x="5" y="2"/>
                        </a:lnTo>
                        <a:lnTo>
                          <a:pt x="8" y="2"/>
                        </a:lnTo>
                        <a:lnTo>
                          <a:pt x="8" y="2"/>
                        </a:lnTo>
                        <a:lnTo>
                          <a:pt x="15" y="0"/>
                        </a:lnTo>
                        <a:lnTo>
                          <a:pt x="15" y="0"/>
                        </a:lnTo>
                        <a:lnTo>
                          <a:pt x="19" y="2"/>
                        </a:lnTo>
                        <a:lnTo>
                          <a:pt x="19" y="2"/>
                        </a:lnTo>
                        <a:lnTo>
                          <a:pt x="19" y="2"/>
                        </a:lnTo>
                        <a:lnTo>
                          <a:pt x="19" y="2"/>
                        </a:lnTo>
                        <a:lnTo>
                          <a:pt x="22" y="4"/>
                        </a:lnTo>
                        <a:lnTo>
                          <a:pt x="22" y="4"/>
                        </a:lnTo>
                        <a:lnTo>
                          <a:pt x="26" y="7"/>
                        </a:lnTo>
                        <a:lnTo>
                          <a:pt x="26" y="7"/>
                        </a:lnTo>
                        <a:lnTo>
                          <a:pt x="31" y="9"/>
                        </a:lnTo>
                        <a:lnTo>
                          <a:pt x="31" y="9"/>
                        </a:lnTo>
                        <a:lnTo>
                          <a:pt x="34" y="9"/>
                        </a:lnTo>
                        <a:lnTo>
                          <a:pt x="34" y="9"/>
                        </a:lnTo>
                        <a:lnTo>
                          <a:pt x="36" y="9"/>
                        </a:lnTo>
                        <a:lnTo>
                          <a:pt x="36" y="9"/>
                        </a:lnTo>
                        <a:lnTo>
                          <a:pt x="38" y="11"/>
                        </a:lnTo>
                        <a:lnTo>
                          <a:pt x="38" y="11"/>
                        </a:lnTo>
                        <a:lnTo>
                          <a:pt x="41" y="11"/>
                        </a:lnTo>
                        <a:lnTo>
                          <a:pt x="41" y="11"/>
                        </a:lnTo>
                        <a:lnTo>
                          <a:pt x="43" y="14"/>
                        </a:lnTo>
                        <a:lnTo>
                          <a:pt x="43" y="14"/>
                        </a:lnTo>
                        <a:lnTo>
                          <a:pt x="48" y="18"/>
                        </a:lnTo>
                        <a:lnTo>
                          <a:pt x="48" y="18"/>
                        </a:lnTo>
                        <a:lnTo>
                          <a:pt x="55" y="21"/>
                        </a:lnTo>
                        <a:lnTo>
                          <a:pt x="55" y="21"/>
                        </a:lnTo>
                        <a:lnTo>
                          <a:pt x="57" y="23"/>
                        </a:lnTo>
                        <a:lnTo>
                          <a:pt x="57" y="23"/>
                        </a:lnTo>
                        <a:lnTo>
                          <a:pt x="62" y="23"/>
                        </a:lnTo>
                        <a:lnTo>
                          <a:pt x="62" y="23"/>
                        </a:lnTo>
                        <a:lnTo>
                          <a:pt x="62" y="23"/>
                        </a:lnTo>
                        <a:lnTo>
                          <a:pt x="62" y="23"/>
                        </a:lnTo>
                        <a:lnTo>
                          <a:pt x="67" y="25"/>
                        </a:lnTo>
                        <a:lnTo>
                          <a:pt x="67" y="25"/>
                        </a:lnTo>
                        <a:lnTo>
                          <a:pt x="74" y="35"/>
                        </a:lnTo>
                        <a:lnTo>
                          <a:pt x="74" y="35"/>
                        </a:lnTo>
                        <a:lnTo>
                          <a:pt x="76" y="44"/>
                        </a:lnTo>
                        <a:lnTo>
                          <a:pt x="76" y="44"/>
                        </a:lnTo>
                        <a:lnTo>
                          <a:pt x="74" y="51"/>
                        </a:lnTo>
                        <a:lnTo>
                          <a:pt x="74" y="51"/>
                        </a:lnTo>
                        <a:lnTo>
                          <a:pt x="71" y="51"/>
                        </a:lnTo>
                        <a:lnTo>
                          <a:pt x="71" y="51"/>
                        </a:lnTo>
                        <a:lnTo>
                          <a:pt x="71" y="51"/>
                        </a:lnTo>
                        <a:lnTo>
                          <a:pt x="71" y="51"/>
                        </a:lnTo>
                        <a:lnTo>
                          <a:pt x="69" y="49"/>
                        </a:lnTo>
                        <a:lnTo>
                          <a:pt x="69" y="49"/>
                        </a:lnTo>
                        <a:lnTo>
                          <a:pt x="64" y="47"/>
                        </a:lnTo>
                        <a:lnTo>
                          <a:pt x="64" y="47"/>
                        </a:lnTo>
                        <a:lnTo>
                          <a:pt x="55" y="44"/>
                        </a:lnTo>
                        <a:lnTo>
                          <a:pt x="55" y="44"/>
                        </a:lnTo>
                        <a:lnTo>
                          <a:pt x="52" y="42"/>
                        </a:lnTo>
                        <a:lnTo>
                          <a:pt x="52" y="42"/>
                        </a:lnTo>
                        <a:lnTo>
                          <a:pt x="48" y="42"/>
                        </a:lnTo>
                        <a:lnTo>
                          <a:pt x="48" y="42"/>
                        </a:lnTo>
                        <a:lnTo>
                          <a:pt x="45" y="42"/>
                        </a:lnTo>
                        <a:lnTo>
                          <a:pt x="45" y="42"/>
                        </a:lnTo>
                        <a:lnTo>
                          <a:pt x="45" y="42"/>
                        </a:lnTo>
                        <a:lnTo>
                          <a:pt x="45" y="42"/>
                        </a:lnTo>
                        <a:close/>
                      </a:path>
                    </a:pathLst>
                  </a:custGeom>
                  <a:solidFill>
                    <a:srgbClr val="FFC000"/>
                  </a:solidFill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98" name="Freeform 1206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3916363" y="2714625"/>
                    <a:ext cx="23812" cy="20638"/>
                  </a:xfrm>
                  <a:custGeom>
                    <a:avLst/>
                    <a:gdLst/>
                    <a:ahLst/>
                    <a:cxnLst>
                      <a:cxn ang="0">
                        <a:pos x="4" y="12"/>
                      </a:cxn>
                      <a:cxn ang="0">
                        <a:pos x="2" y="9"/>
                      </a:cxn>
                      <a:cxn ang="0">
                        <a:pos x="2" y="9"/>
                      </a:cxn>
                      <a:cxn ang="0">
                        <a:pos x="2" y="9"/>
                      </a:cxn>
                      <a:cxn ang="0">
                        <a:pos x="2" y="9"/>
                      </a:cxn>
                      <a:cxn ang="0">
                        <a:pos x="2" y="9"/>
                      </a:cxn>
                      <a:cxn ang="0">
                        <a:pos x="2" y="9"/>
                      </a:cxn>
                      <a:cxn ang="0">
                        <a:pos x="0" y="9"/>
                      </a:cxn>
                      <a:cxn ang="0">
                        <a:pos x="0" y="9"/>
                      </a:cxn>
                      <a:cxn ang="0">
                        <a:pos x="0" y="9"/>
                      </a:cxn>
                      <a:cxn ang="0">
                        <a:pos x="0" y="9"/>
                      </a:cxn>
                      <a:cxn ang="0">
                        <a:pos x="0" y="7"/>
                      </a:cxn>
                      <a:cxn ang="0">
                        <a:pos x="0" y="7"/>
                      </a:cxn>
                      <a:cxn ang="0">
                        <a:pos x="0" y="5"/>
                      </a:cxn>
                      <a:cxn ang="0">
                        <a:pos x="0" y="5"/>
                      </a:cxn>
                      <a:cxn ang="0">
                        <a:pos x="0" y="5"/>
                      </a:cxn>
                      <a:cxn ang="0">
                        <a:pos x="0" y="5"/>
                      </a:cxn>
                      <a:cxn ang="0">
                        <a:pos x="0" y="5"/>
                      </a:cxn>
                      <a:cxn ang="0">
                        <a:pos x="0" y="5"/>
                      </a:cxn>
                      <a:cxn ang="0">
                        <a:pos x="2" y="2"/>
                      </a:cxn>
                      <a:cxn ang="0">
                        <a:pos x="2" y="2"/>
                      </a:cxn>
                      <a:cxn ang="0">
                        <a:pos x="4" y="0"/>
                      </a:cxn>
                      <a:cxn ang="0">
                        <a:pos x="4" y="0"/>
                      </a:cxn>
                      <a:cxn ang="0">
                        <a:pos x="7" y="0"/>
                      </a:cxn>
                      <a:cxn ang="0">
                        <a:pos x="7" y="0"/>
                      </a:cxn>
                      <a:cxn ang="0">
                        <a:pos x="9" y="2"/>
                      </a:cxn>
                      <a:cxn ang="0">
                        <a:pos x="9" y="2"/>
                      </a:cxn>
                      <a:cxn ang="0">
                        <a:pos x="11" y="2"/>
                      </a:cxn>
                      <a:cxn ang="0">
                        <a:pos x="11" y="2"/>
                      </a:cxn>
                      <a:cxn ang="0">
                        <a:pos x="14" y="2"/>
                      </a:cxn>
                      <a:cxn ang="0">
                        <a:pos x="14" y="2"/>
                      </a:cxn>
                      <a:cxn ang="0">
                        <a:pos x="14" y="5"/>
                      </a:cxn>
                      <a:cxn ang="0">
                        <a:pos x="14" y="5"/>
                      </a:cxn>
                      <a:cxn ang="0">
                        <a:pos x="14" y="5"/>
                      </a:cxn>
                      <a:cxn ang="0">
                        <a:pos x="14" y="5"/>
                      </a:cxn>
                      <a:cxn ang="0">
                        <a:pos x="14" y="7"/>
                      </a:cxn>
                      <a:cxn ang="0">
                        <a:pos x="14" y="7"/>
                      </a:cxn>
                      <a:cxn ang="0">
                        <a:pos x="14" y="7"/>
                      </a:cxn>
                      <a:cxn ang="0">
                        <a:pos x="14" y="7"/>
                      </a:cxn>
                      <a:cxn ang="0">
                        <a:pos x="14" y="9"/>
                      </a:cxn>
                      <a:cxn ang="0">
                        <a:pos x="14" y="9"/>
                      </a:cxn>
                      <a:cxn ang="0">
                        <a:pos x="11" y="12"/>
                      </a:cxn>
                      <a:cxn ang="0">
                        <a:pos x="11" y="12"/>
                      </a:cxn>
                      <a:cxn ang="0">
                        <a:pos x="9" y="12"/>
                      </a:cxn>
                      <a:cxn ang="0">
                        <a:pos x="9" y="12"/>
                      </a:cxn>
                      <a:cxn ang="0">
                        <a:pos x="9" y="12"/>
                      </a:cxn>
                      <a:cxn ang="0">
                        <a:pos x="9" y="12"/>
                      </a:cxn>
                      <a:cxn ang="0">
                        <a:pos x="7" y="12"/>
                      </a:cxn>
                      <a:cxn ang="0">
                        <a:pos x="7" y="12"/>
                      </a:cxn>
                      <a:cxn ang="0">
                        <a:pos x="7" y="12"/>
                      </a:cxn>
                      <a:cxn ang="0">
                        <a:pos x="7" y="12"/>
                      </a:cxn>
                      <a:cxn ang="0">
                        <a:pos x="4" y="12"/>
                      </a:cxn>
                      <a:cxn ang="0">
                        <a:pos x="4" y="12"/>
                      </a:cxn>
                      <a:cxn ang="0">
                        <a:pos x="4" y="12"/>
                      </a:cxn>
                      <a:cxn ang="0">
                        <a:pos x="4" y="12"/>
                      </a:cxn>
                    </a:cxnLst>
                    <a:rect l="0" t="0" r="r" b="b"/>
                    <a:pathLst>
                      <a:path w="14" h="12">
                        <a:moveTo>
                          <a:pt x="4" y="12"/>
                        </a:moveTo>
                        <a:lnTo>
                          <a:pt x="2" y="9"/>
                        </a:lnTo>
                        <a:lnTo>
                          <a:pt x="2" y="9"/>
                        </a:lnTo>
                        <a:lnTo>
                          <a:pt x="2" y="9"/>
                        </a:lnTo>
                        <a:lnTo>
                          <a:pt x="2" y="9"/>
                        </a:lnTo>
                        <a:lnTo>
                          <a:pt x="2" y="9"/>
                        </a:lnTo>
                        <a:lnTo>
                          <a:pt x="2" y="9"/>
                        </a:lnTo>
                        <a:lnTo>
                          <a:pt x="0" y="9"/>
                        </a:lnTo>
                        <a:lnTo>
                          <a:pt x="0" y="9"/>
                        </a:lnTo>
                        <a:lnTo>
                          <a:pt x="0" y="9"/>
                        </a:lnTo>
                        <a:lnTo>
                          <a:pt x="0" y="9"/>
                        </a:lnTo>
                        <a:lnTo>
                          <a:pt x="0" y="7"/>
                        </a:lnTo>
                        <a:lnTo>
                          <a:pt x="0" y="7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2" y="2"/>
                        </a:lnTo>
                        <a:lnTo>
                          <a:pt x="2" y="2"/>
                        </a:lnTo>
                        <a:lnTo>
                          <a:pt x="4" y="0"/>
                        </a:lnTo>
                        <a:lnTo>
                          <a:pt x="4" y="0"/>
                        </a:lnTo>
                        <a:lnTo>
                          <a:pt x="7" y="0"/>
                        </a:lnTo>
                        <a:lnTo>
                          <a:pt x="7" y="0"/>
                        </a:lnTo>
                        <a:lnTo>
                          <a:pt x="9" y="2"/>
                        </a:lnTo>
                        <a:lnTo>
                          <a:pt x="9" y="2"/>
                        </a:lnTo>
                        <a:lnTo>
                          <a:pt x="11" y="2"/>
                        </a:lnTo>
                        <a:lnTo>
                          <a:pt x="11" y="2"/>
                        </a:lnTo>
                        <a:lnTo>
                          <a:pt x="14" y="2"/>
                        </a:lnTo>
                        <a:lnTo>
                          <a:pt x="14" y="2"/>
                        </a:lnTo>
                        <a:lnTo>
                          <a:pt x="14" y="5"/>
                        </a:lnTo>
                        <a:lnTo>
                          <a:pt x="14" y="5"/>
                        </a:lnTo>
                        <a:lnTo>
                          <a:pt x="14" y="5"/>
                        </a:lnTo>
                        <a:lnTo>
                          <a:pt x="14" y="5"/>
                        </a:lnTo>
                        <a:lnTo>
                          <a:pt x="14" y="7"/>
                        </a:lnTo>
                        <a:lnTo>
                          <a:pt x="14" y="7"/>
                        </a:lnTo>
                        <a:lnTo>
                          <a:pt x="14" y="7"/>
                        </a:lnTo>
                        <a:lnTo>
                          <a:pt x="14" y="7"/>
                        </a:lnTo>
                        <a:lnTo>
                          <a:pt x="14" y="9"/>
                        </a:lnTo>
                        <a:lnTo>
                          <a:pt x="14" y="9"/>
                        </a:lnTo>
                        <a:lnTo>
                          <a:pt x="11" y="12"/>
                        </a:lnTo>
                        <a:lnTo>
                          <a:pt x="11" y="12"/>
                        </a:lnTo>
                        <a:lnTo>
                          <a:pt x="9" y="12"/>
                        </a:lnTo>
                        <a:lnTo>
                          <a:pt x="9" y="12"/>
                        </a:lnTo>
                        <a:lnTo>
                          <a:pt x="9" y="12"/>
                        </a:lnTo>
                        <a:lnTo>
                          <a:pt x="9" y="12"/>
                        </a:lnTo>
                        <a:lnTo>
                          <a:pt x="7" y="12"/>
                        </a:lnTo>
                        <a:lnTo>
                          <a:pt x="7" y="12"/>
                        </a:lnTo>
                        <a:lnTo>
                          <a:pt x="7" y="12"/>
                        </a:lnTo>
                        <a:lnTo>
                          <a:pt x="7" y="12"/>
                        </a:lnTo>
                        <a:lnTo>
                          <a:pt x="4" y="12"/>
                        </a:lnTo>
                        <a:lnTo>
                          <a:pt x="4" y="12"/>
                        </a:lnTo>
                        <a:lnTo>
                          <a:pt x="4" y="12"/>
                        </a:lnTo>
                        <a:lnTo>
                          <a:pt x="4" y="12"/>
                        </a:lnTo>
                        <a:close/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399" name="Freeform 1207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3940175" y="2886075"/>
                    <a:ext cx="31750" cy="19050"/>
                  </a:xfrm>
                  <a:custGeom>
                    <a:avLst/>
                    <a:gdLst/>
                    <a:ahLst/>
                    <a:cxnLst>
                      <a:cxn ang="0">
                        <a:pos x="4" y="9"/>
                      </a:cxn>
                      <a:cxn ang="0">
                        <a:pos x="2" y="7"/>
                      </a:cxn>
                      <a:cxn ang="0">
                        <a:pos x="0" y="4"/>
                      </a:cxn>
                      <a:cxn ang="0">
                        <a:pos x="0" y="4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4" y="2"/>
                      </a:cxn>
                      <a:cxn ang="0">
                        <a:pos x="7" y="4"/>
                      </a:cxn>
                      <a:cxn ang="0">
                        <a:pos x="7" y="4"/>
                      </a:cxn>
                      <a:cxn ang="0">
                        <a:pos x="7" y="4"/>
                      </a:cxn>
                      <a:cxn ang="0">
                        <a:pos x="7" y="4"/>
                      </a:cxn>
                      <a:cxn ang="0">
                        <a:pos x="9" y="4"/>
                      </a:cxn>
                      <a:cxn ang="0">
                        <a:pos x="9" y="4"/>
                      </a:cxn>
                      <a:cxn ang="0">
                        <a:pos x="9" y="4"/>
                      </a:cxn>
                      <a:cxn ang="0">
                        <a:pos x="9" y="4"/>
                      </a:cxn>
                      <a:cxn ang="0">
                        <a:pos x="12" y="4"/>
                      </a:cxn>
                      <a:cxn ang="0">
                        <a:pos x="12" y="4"/>
                      </a:cxn>
                      <a:cxn ang="0">
                        <a:pos x="12" y="2"/>
                      </a:cxn>
                      <a:cxn ang="0">
                        <a:pos x="14" y="2"/>
                      </a:cxn>
                      <a:cxn ang="0">
                        <a:pos x="14" y="2"/>
                      </a:cxn>
                      <a:cxn ang="0">
                        <a:pos x="16" y="2"/>
                      </a:cxn>
                      <a:cxn ang="0">
                        <a:pos x="16" y="4"/>
                      </a:cxn>
                      <a:cxn ang="0">
                        <a:pos x="19" y="7"/>
                      </a:cxn>
                      <a:cxn ang="0">
                        <a:pos x="19" y="9"/>
                      </a:cxn>
                      <a:cxn ang="0">
                        <a:pos x="16" y="9"/>
                      </a:cxn>
                      <a:cxn ang="0">
                        <a:pos x="16" y="11"/>
                      </a:cxn>
                      <a:cxn ang="0">
                        <a:pos x="14" y="11"/>
                      </a:cxn>
                      <a:cxn ang="0">
                        <a:pos x="7" y="9"/>
                      </a:cxn>
                      <a:cxn ang="0">
                        <a:pos x="4" y="9"/>
                      </a:cxn>
                      <a:cxn ang="0">
                        <a:pos x="4" y="9"/>
                      </a:cxn>
                    </a:cxnLst>
                    <a:rect l="0" t="0" r="r" b="b"/>
                    <a:pathLst>
                      <a:path w="19" h="11">
                        <a:moveTo>
                          <a:pt x="4" y="9"/>
                        </a:moveTo>
                        <a:lnTo>
                          <a:pt x="4" y="9"/>
                        </a:lnTo>
                        <a:lnTo>
                          <a:pt x="4" y="9"/>
                        </a:lnTo>
                        <a:lnTo>
                          <a:pt x="2" y="7"/>
                        </a:lnTo>
                        <a:lnTo>
                          <a:pt x="2" y="7"/>
                        </a:lnTo>
                        <a:lnTo>
                          <a:pt x="0" y="4"/>
                        </a:lnTo>
                        <a:lnTo>
                          <a:pt x="0" y="4"/>
                        </a:lnTo>
                        <a:lnTo>
                          <a:pt x="0" y="4"/>
                        </a:lnTo>
                        <a:lnTo>
                          <a:pt x="0" y="4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4" y="2"/>
                        </a:lnTo>
                        <a:lnTo>
                          <a:pt x="4" y="2"/>
                        </a:lnTo>
                        <a:lnTo>
                          <a:pt x="7" y="4"/>
                        </a:lnTo>
                        <a:lnTo>
                          <a:pt x="7" y="4"/>
                        </a:lnTo>
                        <a:lnTo>
                          <a:pt x="7" y="4"/>
                        </a:lnTo>
                        <a:lnTo>
                          <a:pt x="7" y="4"/>
                        </a:lnTo>
                        <a:lnTo>
                          <a:pt x="7" y="4"/>
                        </a:lnTo>
                        <a:lnTo>
                          <a:pt x="7" y="4"/>
                        </a:lnTo>
                        <a:lnTo>
                          <a:pt x="7" y="4"/>
                        </a:lnTo>
                        <a:lnTo>
                          <a:pt x="7" y="4"/>
                        </a:lnTo>
                        <a:lnTo>
                          <a:pt x="9" y="4"/>
                        </a:lnTo>
                        <a:lnTo>
                          <a:pt x="9" y="4"/>
                        </a:lnTo>
                        <a:lnTo>
                          <a:pt x="9" y="4"/>
                        </a:lnTo>
                        <a:lnTo>
                          <a:pt x="9" y="4"/>
                        </a:lnTo>
                        <a:lnTo>
                          <a:pt x="9" y="4"/>
                        </a:lnTo>
                        <a:lnTo>
                          <a:pt x="9" y="4"/>
                        </a:lnTo>
                        <a:lnTo>
                          <a:pt x="9" y="4"/>
                        </a:lnTo>
                        <a:lnTo>
                          <a:pt x="9" y="4"/>
                        </a:lnTo>
                        <a:lnTo>
                          <a:pt x="12" y="4"/>
                        </a:lnTo>
                        <a:lnTo>
                          <a:pt x="12" y="4"/>
                        </a:lnTo>
                        <a:lnTo>
                          <a:pt x="12" y="4"/>
                        </a:lnTo>
                        <a:lnTo>
                          <a:pt x="12" y="4"/>
                        </a:lnTo>
                        <a:lnTo>
                          <a:pt x="12" y="2"/>
                        </a:lnTo>
                        <a:lnTo>
                          <a:pt x="12" y="2"/>
                        </a:lnTo>
                        <a:lnTo>
                          <a:pt x="14" y="2"/>
                        </a:lnTo>
                        <a:lnTo>
                          <a:pt x="14" y="2"/>
                        </a:lnTo>
                        <a:lnTo>
                          <a:pt x="14" y="2"/>
                        </a:lnTo>
                        <a:lnTo>
                          <a:pt x="14" y="2"/>
                        </a:lnTo>
                        <a:lnTo>
                          <a:pt x="16" y="2"/>
                        </a:lnTo>
                        <a:lnTo>
                          <a:pt x="16" y="2"/>
                        </a:lnTo>
                        <a:lnTo>
                          <a:pt x="16" y="4"/>
                        </a:lnTo>
                        <a:lnTo>
                          <a:pt x="16" y="4"/>
                        </a:lnTo>
                        <a:lnTo>
                          <a:pt x="19" y="7"/>
                        </a:lnTo>
                        <a:lnTo>
                          <a:pt x="19" y="7"/>
                        </a:lnTo>
                        <a:lnTo>
                          <a:pt x="19" y="9"/>
                        </a:lnTo>
                        <a:lnTo>
                          <a:pt x="19" y="9"/>
                        </a:lnTo>
                        <a:lnTo>
                          <a:pt x="16" y="9"/>
                        </a:lnTo>
                        <a:lnTo>
                          <a:pt x="16" y="9"/>
                        </a:lnTo>
                        <a:lnTo>
                          <a:pt x="16" y="11"/>
                        </a:lnTo>
                        <a:lnTo>
                          <a:pt x="16" y="11"/>
                        </a:lnTo>
                        <a:lnTo>
                          <a:pt x="14" y="11"/>
                        </a:lnTo>
                        <a:lnTo>
                          <a:pt x="14" y="11"/>
                        </a:lnTo>
                        <a:lnTo>
                          <a:pt x="7" y="9"/>
                        </a:lnTo>
                        <a:lnTo>
                          <a:pt x="7" y="9"/>
                        </a:lnTo>
                        <a:lnTo>
                          <a:pt x="4" y="9"/>
                        </a:lnTo>
                        <a:lnTo>
                          <a:pt x="4" y="9"/>
                        </a:lnTo>
                        <a:lnTo>
                          <a:pt x="4" y="9"/>
                        </a:lnTo>
                        <a:lnTo>
                          <a:pt x="4" y="9"/>
                        </a:lnTo>
                        <a:close/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00" name="Freeform 1208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4348163" y="2311400"/>
                    <a:ext cx="890587" cy="731838"/>
                  </a:xfrm>
                  <a:custGeom>
                    <a:avLst/>
                    <a:gdLst/>
                    <a:ahLst/>
                    <a:cxnLst>
                      <a:cxn ang="0">
                        <a:pos x="38" y="28"/>
                      </a:cxn>
                      <a:cxn ang="0">
                        <a:pos x="40" y="21"/>
                      </a:cxn>
                      <a:cxn ang="0">
                        <a:pos x="54" y="5"/>
                      </a:cxn>
                      <a:cxn ang="0">
                        <a:pos x="113" y="16"/>
                      </a:cxn>
                      <a:cxn ang="0">
                        <a:pos x="135" y="7"/>
                      </a:cxn>
                      <a:cxn ang="0">
                        <a:pos x="161" y="5"/>
                      </a:cxn>
                      <a:cxn ang="0">
                        <a:pos x="206" y="31"/>
                      </a:cxn>
                      <a:cxn ang="0">
                        <a:pos x="224" y="26"/>
                      </a:cxn>
                      <a:cxn ang="0">
                        <a:pos x="250" y="52"/>
                      </a:cxn>
                      <a:cxn ang="0">
                        <a:pos x="281" y="47"/>
                      </a:cxn>
                      <a:cxn ang="0">
                        <a:pos x="307" y="61"/>
                      </a:cxn>
                      <a:cxn ang="0">
                        <a:pos x="309" y="92"/>
                      </a:cxn>
                      <a:cxn ang="0">
                        <a:pos x="326" y="120"/>
                      </a:cxn>
                      <a:cxn ang="0">
                        <a:pos x="369" y="113"/>
                      </a:cxn>
                      <a:cxn ang="0">
                        <a:pos x="399" y="106"/>
                      </a:cxn>
                      <a:cxn ang="0">
                        <a:pos x="399" y="118"/>
                      </a:cxn>
                      <a:cxn ang="0">
                        <a:pos x="413" y="118"/>
                      </a:cxn>
                      <a:cxn ang="0">
                        <a:pos x="404" y="137"/>
                      </a:cxn>
                      <a:cxn ang="0">
                        <a:pos x="380" y="139"/>
                      </a:cxn>
                      <a:cxn ang="0">
                        <a:pos x="345" y="135"/>
                      </a:cxn>
                      <a:cxn ang="0">
                        <a:pos x="343" y="156"/>
                      </a:cxn>
                      <a:cxn ang="0">
                        <a:pos x="380" y="158"/>
                      </a:cxn>
                      <a:cxn ang="0">
                        <a:pos x="409" y="175"/>
                      </a:cxn>
                      <a:cxn ang="0">
                        <a:pos x="444" y="170"/>
                      </a:cxn>
                      <a:cxn ang="0">
                        <a:pos x="487" y="201"/>
                      </a:cxn>
                      <a:cxn ang="0">
                        <a:pos x="532" y="250"/>
                      </a:cxn>
                      <a:cxn ang="0">
                        <a:pos x="515" y="293"/>
                      </a:cxn>
                      <a:cxn ang="0">
                        <a:pos x="491" y="291"/>
                      </a:cxn>
                      <a:cxn ang="0">
                        <a:pos x="491" y="305"/>
                      </a:cxn>
                      <a:cxn ang="0">
                        <a:pos x="465" y="307"/>
                      </a:cxn>
                      <a:cxn ang="0">
                        <a:pos x="437" y="288"/>
                      </a:cxn>
                      <a:cxn ang="0">
                        <a:pos x="406" y="279"/>
                      </a:cxn>
                      <a:cxn ang="0">
                        <a:pos x="364" y="286"/>
                      </a:cxn>
                      <a:cxn ang="0">
                        <a:pos x="345" y="279"/>
                      </a:cxn>
                      <a:cxn ang="0">
                        <a:pos x="340" y="286"/>
                      </a:cxn>
                      <a:cxn ang="0">
                        <a:pos x="307" y="274"/>
                      </a:cxn>
                      <a:cxn ang="0">
                        <a:pos x="288" y="286"/>
                      </a:cxn>
                      <a:cxn ang="0">
                        <a:pos x="239" y="319"/>
                      </a:cxn>
                      <a:cxn ang="0">
                        <a:pos x="224" y="324"/>
                      </a:cxn>
                      <a:cxn ang="0">
                        <a:pos x="206" y="309"/>
                      </a:cxn>
                      <a:cxn ang="0">
                        <a:pos x="198" y="283"/>
                      </a:cxn>
                      <a:cxn ang="0">
                        <a:pos x="182" y="298"/>
                      </a:cxn>
                      <a:cxn ang="0">
                        <a:pos x="154" y="317"/>
                      </a:cxn>
                      <a:cxn ang="0">
                        <a:pos x="137" y="305"/>
                      </a:cxn>
                      <a:cxn ang="0">
                        <a:pos x="139" y="335"/>
                      </a:cxn>
                      <a:cxn ang="0">
                        <a:pos x="111" y="387"/>
                      </a:cxn>
                      <a:cxn ang="0">
                        <a:pos x="78" y="425"/>
                      </a:cxn>
                      <a:cxn ang="0">
                        <a:pos x="61" y="409"/>
                      </a:cxn>
                      <a:cxn ang="0">
                        <a:pos x="54" y="392"/>
                      </a:cxn>
                      <a:cxn ang="0">
                        <a:pos x="40" y="359"/>
                      </a:cxn>
                      <a:cxn ang="0">
                        <a:pos x="33" y="335"/>
                      </a:cxn>
                      <a:cxn ang="0">
                        <a:pos x="33" y="291"/>
                      </a:cxn>
                      <a:cxn ang="0">
                        <a:pos x="19" y="262"/>
                      </a:cxn>
                      <a:cxn ang="0">
                        <a:pos x="26" y="231"/>
                      </a:cxn>
                      <a:cxn ang="0">
                        <a:pos x="35" y="213"/>
                      </a:cxn>
                      <a:cxn ang="0">
                        <a:pos x="26" y="177"/>
                      </a:cxn>
                      <a:cxn ang="0">
                        <a:pos x="52" y="149"/>
                      </a:cxn>
                      <a:cxn ang="0">
                        <a:pos x="59" y="132"/>
                      </a:cxn>
                      <a:cxn ang="0">
                        <a:pos x="43" y="104"/>
                      </a:cxn>
                      <a:cxn ang="0">
                        <a:pos x="45" y="59"/>
                      </a:cxn>
                    </a:cxnLst>
                    <a:rect l="0" t="0" r="r" b="b"/>
                    <a:pathLst>
                      <a:path w="532" h="437">
                        <a:moveTo>
                          <a:pt x="40" y="42"/>
                        </a:moveTo>
                        <a:lnTo>
                          <a:pt x="40" y="42"/>
                        </a:lnTo>
                        <a:lnTo>
                          <a:pt x="40" y="42"/>
                        </a:lnTo>
                        <a:lnTo>
                          <a:pt x="40" y="40"/>
                        </a:lnTo>
                        <a:lnTo>
                          <a:pt x="40" y="40"/>
                        </a:lnTo>
                        <a:lnTo>
                          <a:pt x="40" y="38"/>
                        </a:lnTo>
                        <a:lnTo>
                          <a:pt x="40" y="38"/>
                        </a:lnTo>
                        <a:lnTo>
                          <a:pt x="40" y="35"/>
                        </a:lnTo>
                        <a:lnTo>
                          <a:pt x="40" y="35"/>
                        </a:lnTo>
                        <a:lnTo>
                          <a:pt x="38" y="28"/>
                        </a:lnTo>
                        <a:lnTo>
                          <a:pt x="38" y="28"/>
                        </a:lnTo>
                        <a:lnTo>
                          <a:pt x="38" y="28"/>
                        </a:lnTo>
                        <a:lnTo>
                          <a:pt x="38" y="28"/>
                        </a:lnTo>
                        <a:lnTo>
                          <a:pt x="38" y="28"/>
                        </a:lnTo>
                        <a:lnTo>
                          <a:pt x="38" y="28"/>
                        </a:lnTo>
                        <a:lnTo>
                          <a:pt x="35" y="28"/>
                        </a:lnTo>
                        <a:lnTo>
                          <a:pt x="35" y="28"/>
                        </a:lnTo>
                        <a:lnTo>
                          <a:pt x="35" y="31"/>
                        </a:lnTo>
                        <a:lnTo>
                          <a:pt x="35" y="31"/>
                        </a:lnTo>
                        <a:lnTo>
                          <a:pt x="33" y="31"/>
                        </a:lnTo>
                        <a:lnTo>
                          <a:pt x="33" y="31"/>
                        </a:lnTo>
                        <a:lnTo>
                          <a:pt x="33" y="31"/>
                        </a:lnTo>
                        <a:lnTo>
                          <a:pt x="33" y="31"/>
                        </a:lnTo>
                        <a:lnTo>
                          <a:pt x="33" y="28"/>
                        </a:lnTo>
                        <a:lnTo>
                          <a:pt x="33" y="28"/>
                        </a:lnTo>
                        <a:lnTo>
                          <a:pt x="33" y="28"/>
                        </a:lnTo>
                        <a:lnTo>
                          <a:pt x="33" y="28"/>
                        </a:lnTo>
                        <a:lnTo>
                          <a:pt x="38" y="21"/>
                        </a:lnTo>
                        <a:lnTo>
                          <a:pt x="38" y="21"/>
                        </a:lnTo>
                        <a:lnTo>
                          <a:pt x="40" y="21"/>
                        </a:lnTo>
                        <a:lnTo>
                          <a:pt x="40" y="21"/>
                        </a:lnTo>
                        <a:lnTo>
                          <a:pt x="43" y="21"/>
                        </a:lnTo>
                        <a:lnTo>
                          <a:pt x="43" y="21"/>
                        </a:lnTo>
                        <a:lnTo>
                          <a:pt x="43" y="19"/>
                        </a:lnTo>
                        <a:lnTo>
                          <a:pt x="43" y="19"/>
                        </a:lnTo>
                        <a:lnTo>
                          <a:pt x="50" y="14"/>
                        </a:lnTo>
                        <a:lnTo>
                          <a:pt x="50" y="14"/>
                        </a:lnTo>
                        <a:lnTo>
                          <a:pt x="52" y="12"/>
                        </a:lnTo>
                        <a:lnTo>
                          <a:pt x="52" y="12"/>
                        </a:lnTo>
                        <a:lnTo>
                          <a:pt x="52" y="9"/>
                        </a:lnTo>
                        <a:lnTo>
                          <a:pt x="52" y="9"/>
                        </a:lnTo>
                        <a:lnTo>
                          <a:pt x="52" y="7"/>
                        </a:lnTo>
                        <a:lnTo>
                          <a:pt x="52" y="7"/>
                        </a:lnTo>
                        <a:lnTo>
                          <a:pt x="54" y="5"/>
                        </a:lnTo>
                        <a:lnTo>
                          <a:pt x="54" y="5"/>
                        </a:lnTo>
                        <a:lnTo>
                          <a:pt x="61" y="2"/>
                        </a:lnTo>
                        <a:lnTo>
                          <a:pt x="61" y="2"/>
                        </a:lnTo>
                        <a:lnTo>
                          <a:pt x="64" y="2"/>
                        </a:lnTo>
                        <a:lnTo>
                          <a:pt x="64" y="2"/>
                        </a:lnTo>
                        <a:lnTo>
                          <a:pt x="76" y="2"/>
                        </a:lnTo>
                        <a:lnTo>
                          <a:pt x="76" y="2"/>
                        </a:lnTo>
                        <a:lnTo>
                          <a:pt x="76" y="5"/>
                        </a:lnTo>
                        <a:lnTo>
                          <a:pt x="76" y="5"/>
                        </a:lnTo>
                        <a:lnTo>
                          <a:pt x="92" y="14"/>
                        </a:lnTo>
                        <a:lnTo>
                          <a:pt x="92" y="14"/>
                        </a:lnTo>
                        <a:lnTo>
                          <a:pt x="109" y="19"/>
                        </a:lnTo>
                        <a:lnTo>
                          <a:pt x="109" y="19"/>
                        </a:lnTo>
                        <a:lnTo>
                          <a:pt x="111" y="19"/>
                        </a:lnTo>
                        <a:lnTo>
                          <a:pt x="111" y="19"/>
                        </a:lnTo>
                        <a:lnTo>
                          <a:pt x="113" y="16"/>
                        </a:lnTo>
                        <a:lnTo>
                          <a:pt x="113" y="16"/>
                        </a:lnTo>
                        <a:lnTo>
                          <a:pt x="116" y="16"/>
                        </a:lnTo>
                        <a:lnTo>
                          <a:pt x="116" y="16"/>
                        </a:lnTo>
                        <a:lnTo>
                          <a:pt x="116" y="16"/>
                        </a:lnTo>
                        <a:lnTo>
                          <a:pt x="116" y="16"/>
                        </a:lnTo>
                        <a:lnTo>
                          <a:pt x="121" y="14"/>
                        </a:lnTo>
                        <a:lnTo>
                          <a:pt x="121" y="14"/>
                        </a:lnTo>
                        <a:lnTo>
                          <a:pt x="128" y="12"/>
                        </a:lnTo>
                        <a:lnTo>
                          <a:pt x="128" y="12"/>
                        </a:lnTo>
                        <a:lnTo>
                          <a:pt x="132" y="12"/>
                        </a:lnTo>
                        <a:lnTo>
                          <a:pt x="132" y="12"/>
                        </a:lnTo>
                        <a:lnTo>
                          <a:pt x="135" y="7"/>
                        </a:lnTo>
                        <a:lnTo>
                          <a:pt x="135" y="7"/>
                        </a:lnTo>
                        <a:lnTo>
                          <a:pt x="135" y="7"/>
                        </a:lnTo>
                        <a:lnTo>
                          <a:pt x="135" y="7"/>
                        </a:lnTo>
                        <a:lnTo>
                          <a:pt x="135" y="5"/>
                        </a:lnTo>
                        <a:lnTo>
                          <a:pt x="135" y="5"/>
                        </a:lnTo>
                        <a:lnTo>
                          <a:pt x="135" y="5"/>
                        </a:lnTo>
                        <a:lnTo>
                          <a:pt x="135" y="5"/>
                        </a:lnTo>
                        <a:lnTo>
                          <a:pt x="137" y="2"/>
                        </a:lnTo>
                        <a:lnTo>
                          <a:pt x="137" y="2"/>
                        </a:lnTo>
                        <a:lnTo>
                          <a:pt x="139" y="0"/>
                        </a:lnTo>
                        <a:lnTo>
                          <a:pt x="139" y="0"/>
                        </a:lnTo>
                        <a:lnTo>
                          <a:pt x="142" y="0"/>
                        </a:lnTo>
                        <a:lnTo>
                          <a:pt x="142" y="0"/>
                        </a:lnTo>
                        <a:lnTo>
                          <a:pt x="147" y="0"/>
                        </a:lnTo>
                        <a:lnTo>
                          <a:pt x="147" y="0"/>
                        </a:lnTo>
                        <a:lnTo>
                          <a:pt x="156" y="5"/>
                        </a:lnTo>
                        <a:lnTo>
                          <a:pt x="156" y="5"/>
                        </a:lnTo>
                        <a:lnTo>
                          <a:pt x="161" y="5"/>
                        </a:lnTo>
                        <a:lnTo>
                          <a:pt x="161" y="5"/>
                        </a:lnTo>
                        <a:lnTo>
                          <a:pt x="168" y="2"/>
                        </a:lnTo>
                        <a:lnTo>
                          <a:pt x="168" y="2"/>
                        </a:lnTo>
                        <a:lnTo>
                          <a:pt x="170" y="5"/>
                        </a:lnTo>
                        <a:lnTo>
                          <a:pt x="170" y="5"/>
                        </a:lnTo>
                        <a:lnTo>
                          <a:pt x="175" y="12"/>
                        </a:lnTo>
                        <a:lnTo>
                          <a:pt x="175" y="12"/>
                        </a:lnTo>
                        <a:lnTo>
                          <a:pt x="177" y="16"/>
                        </a:lnTo>
                        <a:lnTo>
                          <a:pt x="177" y="16"/>
                        </a:lnTo>
                        <a:lnTo>
                          <a:pt x="189" y="24"/>
                        </a:lnTo>
                        <a:lnTo>
                          <a:pt x="189" y="24"/>
                        </a:lnTo>
                        <a:lnTo>
                          <a:pt x="198" y="31"/>
                        </a:lnTo>
                        <a:lnTo>
                          <a:pt x="198" y="31"/>
                        </a:lnTo>
                        <a:lnTo>
                          <a:pt x="206" y="31"/>
                        </a:lnTo>
                        <a:lnTo>
                          <a:pt x="206" y="31"/>
                        </a:lnTo>
                        <a:lnTo>
                          <a:pt x="215" y="33"/>
                        </a:lnTo>
                        <a:lnTo>
                          <a:pt x="215" y="33"/>
                        </a:lnTo>
                        <a:lnTo>
                          <a:pt x="215" y="31"/>
                        </a:lnTo>
                        <a:lnTo>
                          <a:pt x="215" y="31"/>
                        </a:lnTo>
                        <a:lnTo>
                          <a:pt x="215" y="28"/>
                        </a:lnTo>
                        <a:lnTo>
                          <a:pt x="215" y="28"/>
                        </a:lnTo>
                        <a:lnTo>
                          <a:pt x="215" y="28"/>
                        </a:lnTo>
                        <a:lnTo>
                          <a:pt x="215" y="28"/>
                        </a:lnTo>
                        <a:lnTo>
                          <a:pt x="217" y="28"/>
                        </a:lnTo>
                        <a:lnTo>
                          <a:pt x="217" y="28"/>
                        </a:lnTo>
                        <a:lnTo>
                          <a:pt x="217" y="26"/>
                        </a:lnTo>
                        <a:lnTo>
                          <a:pt x="217" y="26"/>
                        </a:lnTo>
                        <a:lnTo>
                          <a:pt x="220" y="26"/>
                        </a:lnTo>
                        <a:lnTo>
                          <a:pt x="220" y="26"/>
                        </a:lnTo>
                        <a:lnTo>
                          <a:pt x="224" y="26"/>
                        </a:lnTo>
                        <a:lnTo>
                          <a:pt x="224" y="26"/>
                        </a:lnTo>
                        <a:lnTo>
                          <a:pt x="234" y="33"/>
                        </a:lnTo>
                        <a:lnTo>
                          <a:pt x="234" y="33"/>
                        </a:lnTo>
                        <a:lnTo>
                          <a:pt x="234" y="35"/>
                        </a:lnTo>
                        <a:lnTo>
                          <a:pt x="234" y="35"/>
                        </a:lnTo>
                        <a:lnTo>
                          <a:pt x="236" y="40"/>
                        </a:lnTo>
                        <a:lnTo>
                          <a:pt x="236" y="40"/>
                        </a:lnTo>
                        <a:lnTo>
                          <a:pt x="239" y="45"/>
                        </a:lnTo>
                        <a:lnTo>
                          <a:pt x="239" y="45"/>
                        </a:lnTo>
                        <a:lnTo>
                          <a:pt x="246" y="50"/>
                        </a:lnTo>
                        <a:lnTo>
                          <a:pt x="246" y="50"/>
                        </a:lnTo>
                        <a:lnTo>
                          <a:pt x="246" y="52"/>
                        </a:lnTo>
                        <a:lnTo>
                          <a:pt x="246" y="52"/>
                        </a:lnTo>
                        <a:lnTo>
                          <a:pt x="250" y="52"/>
                        </a:lnTo>
                        <a:lnTo>
                          <a:pt x="250" y="52"/>
                        </a:lnTo>
                        <a:lnTo>
                          <a:pt x="265" y="57"/>
                        </a:lnTo>
                        <a:lnTo>
                          <a:pt x="265" y="57"/>
                        </a:lnTo>
                        <a:lnTo>
                          <a:pt x="269" y="57"/>
                        </a:lnTo>
                        <a:lnTo>
                          <a:pt x="269" y="57"/>
                        </a:lnTo>
                        <a:lnTo>
                          <a:pt x="272" y="57"/>
                        </a:lnTo>
                        <a:lnTo>
                          <a:pt x="272" y="57"/>
                        </a:lnTo>
                        <a:lnTo>
                          <a:pt x="274" y="57"/>
                        </a:lnTo>
                        <a:lnTo>
                          <a:pt x="274" y="57"/>
                        </a:lnTo>
                        <a:lnTo>
                          <a:pt x="276" y="54"/>
                        </a:lnTo>
                        <a:lnTo>
                          <a:pt x="276" y="54"/>
                        </a:lnTo>
                        <a:lnTo>
                          <a:pt x="279" y="54"/>
                        </a:lnTo>
                        <a:lnTo>
                          <a:pt x="279" y="54"/>
                        </a:lnTo>
                        <a:lnTo>
                          <a:pt x="279" y="52"/>
                        </a:lnTo>
                        <a:lnTo>
                          <a:pt x="279" y="52"/>
                        </a:lnTo>
                        <a:lnTo>
                          <a:pt x="281" y="47"/>
                        </a:lnTo>
                        <a:lnTo>
                          <a:pt x="281" y="47"/>
                        </a:lnTo>
                        <a:lnTo>
                          <a:pt x="284" y="47"/>
                        </a:lnTo>
                        <a:lnTo>
                          <a:pt x="284" y="47"/>
                        </a:lnTo>
                        <a:lnTo>
                          <a:pt x="293" y="45"/>
                        </a:lnTo>
                        <a:lnTo>
                          <a:pt x="293" y="45"/>
                        </a:lnTo>
                        <a:lnTo>
                          <a:pt x="295" y="45"/>
                        </a:lnTo>
                        <a:lnTo>
                          <a:pt x="295" y="45"/>
                        </a:lnTo>
                        <a:lnTo>
                          <a:pt x="298" y="47"/>
                        </a:lnTo>
                        <a:lnTo>
                          <a:pt x="298" y="47"/>
                        </a:lnTo>
                        <a:lnTo>
                          <a:pt x="305" y="52"/>
                        </a:lnTo>
                        <a:lnTo>
                          <a:pt x="305" y="52"/>
                        </a:lnTo>
                        <a:lnTo>
                          <a:pt x="307" y="57"/>
                        </a:lnTo>
                        <a:lnTo>
                          <a:pt x="307" y="57"/>
                        </a:lnTo>
                        <a:lnTo>
                          <a:pt x="307" y="61"/>
                        </a:lnTo>
                        <a:lnTo>
                          <a:pt x="307" y="61"/>
                        </a:lnTo>
                        <a:lnTo>
                          <a:pt x="305" y="66"/>
                        </a:lnTo>
                        <a:lnTo>
                          <a:pt x="305" y="66"/>
                        </a:lnTo>
                        <a:lnTo>
                          <a:pt x="305" y="71"/>
                        </a:lnTo>
                        <a:lnTo>
                          <a:pt x="305" y="71"/>
                        </a:lnTo>
                        <a:lnTo>
                          <a:pt x="305" y="73"/>
                        </a:lnTo>
                        <a:lnTo>
                          <a:pt x="305" y="73"/>
                        </a:lnTo>
                        <a:lnTo>
                          <a:pt x="305" y="73"/>
                        </a:lnTo>
                        <a:lnTo>
                          <a:pt x="305" y="73"/>
                        </a:lnTo>
                        <a:lnTo>
                          <a:pt x="307" y="76"/>
                        </a:lnTo>
                        <a:lnTo>
                          <a:pt x="307" y="76"/>
                        </a:lnTo>
                        <a:lnTo>
                          <a:pt x="309" y="85"/>
                        </a:lnTo>
                        <a:lnTo>
                          <a:pt x="309" y="85"/>
                        </a:lnTo>
                        <a:lnTo>
                          <a:pt x="307" y="90"/>
                        </a:lnTo>
                        <a:lnTo>
                          <a:pt x="307" y="90"/>
                        </a:lnTo>
                        <a:lnTo>
                          <a:pt x="309" y="92"/>
                        </a:lnTo>
                        <a:lnTo>
                          <a:pt x="309" y="92"/>
                        </a:lnTo>
                        <a:lnTo>
                          <a:pt x="312" y="97"/>
                        </a:lnTo>
                        <a:lnTo>
                          <a:pt x="312" y="97"/>
                        </a:lnTo>
                        <a:lnTo>
                          <a:pt x="312" y="104"/>
                        </a:lnTo>
                        <a:lnTo>
                          <a:pt x="312" y="104"/>
                        </a:lnTo>
                        <a:lnTo>
                          <a:pt x="314" y="106"/>
                        </a:lnTo>
                        <a:lnTo>
                          <a:pt x="314" y="106"/>
                        </a:lnTo>
                        <a:lnTo>
                          <a:pt x="319" y="113"/>
                        </a:lnTo>
                        <a:lnTo>
                          <a:pt x="319" y="113"/>
                        </a:lnTo>
                        <a:lnTo>
                          <a:pt x="321" y="118"/>
                        </a:lnTo>
                        <a:lnTo>
                          <a:pt x="321" y="118"/>
                        </a:lnTo>
                        <a:lnTo>
                          <a:pt x="324" y="118"/>
                        </a:lnTo>
                        <a:lnTo>
                          <a:pt x="324" y="118"/>
                        </a:lnTo>
                        <a:lnTo>
                          <a:pt x="326" y="120"/>
                        </a:lnTo>
                        <a:lnTo>
                          <a:pt x="326" y="120"/>
                        </a:lnTo>
                        <a:lnTo>
                          <a:pt x="331" y="123"/>
                        </a:lnTo>
                        <a:lnTo>
                          <a:pt x="331" y="123"/>
                        </a:lnTo>
                        <a:lnTo>
                          <a:pt x="331" y="123"/>
                        </a:lnTo>
                        <a:lnTo>
                          <a:pt x="331" y="123"/>
                        </a:lnTo>
                        <a:lnTo>
                          <a:pt x="338" y="120"/>
                        </a:lnTo>
                        <a:lnTo>
                          <a:pt x="338" y="120"/>
                        </a:lnTo>
                        <a:lnTo>
                          <a:pt x="350" y="118"/>
                        </a:lnTo>
                        <a:lnTo>
                          <a:pt x="350" y="118"/>
                        </a:lnTo>
                        <a:lnTo>
                          <a:pt x="350" y="118"/>
                        </a:lnTo>
                        <a:lnTo>
                          <a:pt x="350" y="118"/>
                        </a:lnTo>
                        <a:lnTo>
                          <a:pt x="354" y="113"/>
                        </a:lnTo>
                        <a:lnTo>
                          <a:pt x="354" y="113"/>
                        </a:lnTo>
                        <a:lnTo>
                          <a:pt x="354" y="113"/>
                        </a:lnTo>
                        <a:lnTo>
                          <a:pt x="354" y="113"/>
                        </a:lnTo>
                        <a:lnTo>
                          <a:pt x="369" y="113"/>
                        </a:lnTo>
                        <a:lnTo>
                          <a:pt x="369" y="113"/>
                        </a:lnTo>
                        <a:lnTo>
                          <a:pt x="376" y="113"/>
                        </a:lnTo>
                        <a:lnTo>
                          <a:pt x="376" y="113"/>
                        </a:lnTo>
                        <a:lnTo>
                          <a:pt x="378" y="116"/>
                        </a:lnTo>
                        <a:lnTo>
                          <a:pt x="378" y="116"/>
                        </a:lnTo>
                        <a:lnTo>
                          <a:pt x="387" y="120"/>
                        </a:lnTo>
                        <a:lnTo>
                          <a:pt x="387" y="120"/>
                        </a:lnTo>
                        <a:lnTo>
                          <a:pt x="387" y="120"/>
                        </a:lnTo>
                        <a:lnTo>
                          <a:pt x="387" y="120"/>
                        </a:lnTo>
                        <a:lnTo>
                          <a:pt x="387" y="118"/>
                        </a:lnTo>
                        <a:lnTo>
                          <a:pt x="387" y="118"/>
                        </a:lnTo>
                        <a:lnTo>
                          <a:pt x="387" y="116"/>
                        </a:lnTo>
                        <a:lnTo>
                          <a:pt x="387" y="116"/>
                        </a:lnTo>
                        <a:lnTo>
                          <a:pt x="399" y="106"/>
                        </a:lnTo>
                        <a:lnTo>
                          <a:pt x="399" y="106"/>
                        </a:lnTo>
                        <a:lnTo>
                          <a:pt x="402" y="106"/>
                        </a:lnTo>
                        <a:lnTo>
                          <a:pt x="402" y="106"/>
                        </a:lnTo>
                        <a:lnTo>
                          <a:pt x="404" y="106"/>
                        </a:lnTo>
                        <a:lnTo>
                          <a:pt x="404" y="106"/>
                        </a:lnTo>
                        <a:lnTo>
                          <a:pt x="404" y="109"/>
                        </a:lnTo>
                        <a:lnTo>
                          <a:pt x="404" y="109"/>
                        </a:lnTo>
                        <a:lnTo>
                          <a:pt x="404" y="109"/>
                        </a:lnTo>
                        <a:lnTo>
                          <a:pt x="404" y="109"/>
                        </a:lnTo>
                        <a:lnTo>
                          <a:pt x="404" y="111"/>
                        </a:lnTo>
                        <a:lnTo>
                          <a:pt x="404" y="111"/>
                        </a:lnTo>
                        <a:lnTo>
                          <a:pt x="402" y="113"/>
                        </a:lnTo>
                        <a:lnTo>
                          <a:pt x="402" y="113"/>
                        </a:lnTo>
                        <a:lnTo>
                          <a:pt x="399" y="118"/>
                        </a:lnTo>
                        <a:lnTo>
                          <a:pt x="399" y="118"/>
                        </a:lnTo>
                        <a:lnTo>
                          <a:pt x="399" y="118"/>
                        </a:lnTo>
                        <a:lnTo>
                          <a:pt x="399" y="118"/>
                        </a:lnTo>
                        <a:lnTo>
                          <a:pt x="399" y="120"/>
                        </a:lnTo>
                        <a:lnTo>
                          <a:pt x="399" y="120"/>
                        </a:lnTo>
                        <a:lnTo>
                          <a:pt x="399" y="120"/>
                        </a:lnTo>
                        <a:lnTo>
                          <a:pt x="399" y="120"/>
                        </a:lnTo>
                        <a:lnTo>
                          <a:pt x="402" y="120"/>
                        </a:lnTo>
                        <a:lnTo>
                          <a:pt x="402" y="120"/>
                        </a:lnTo>
                        <a:lnTo>
                          <a:pt x="409" y="120"/>
                        </a:lnTo>
                        <a:lnTo>
                          <a:pt x="409" y="120"/>
                        </a:lnTo>
                        <a:lnTo>
                          <a:pt x="411" y="118"/>
                        </a:lnTo>
                        <a:lnTo>
                          <a:pt x="411" y="118"/>
                        </a:lnTo>
                        <a:lnTo>
                          <a:pt x="413" y="118"/>
                        </a:lnTo>
                        <a:lnTo>
                          <a:pt x="413" y="118"/>
                        </a:lnTo>
                        <a:lnTo>
                          <a:pt x="413" y="118"/>
                        </a:lnTo>
                        <a:lnTo>
                          <a:pt x="413" y="118"/>
                        </a:lnTo>
                        <a:lnTo>
                          <a:pt x="413" y="120"/>
                        </a:lnTo>
                        <a:lnTo>
                          <a:pt x="413" y="120"/>
                        </a:lnTo>
                        <a:lnTo>
                          <a:pt x="411" y="123"/>
                        </a:lnTo>
                        <a:lnTo>
                          <a:pt x="411" y="123"/>
                        </a:lnTo>
                        <a:lnTo>
                          <a:pt x="411" y="125"/>
                        </a:lnTo>
                        <a:lnTo>
                          <a:pt x="411" y="125"/>
                        </a:lnTo>
                        <a:lnTo>
                          <a:pt x="409" y="128"/>
                        </a:lnTo>
                        <a:lnTo>
                          <a:pt x="409" y="128"/>
                        </a:lnTo>
                        <a:lnTo>
                          <a:pt x="406" y="128"/>
                        </a:lnTo>
                        <a:lnTo>
                          <a:pt x="406" y="128"/>
                        </a:lnTo>
                        <a:lnTo>
                          <a:pt x="406" y="130"/>
                        </a:lnTo>
                        <a:lnTo>
                          <a:pt x="406" y="130"/>
                        </a:lnTo>
                        <a:lnTo>
                          <a:pt x="404" y="135"/>
                        </a:lnTo>
                        <a:lnTo>
                          <a:pt x="404" y="135"/>
                        </a:lnTo>
                        <a:lnTo>
                          <a:pt x="404" y="137"/>
                        </a:lnTo>
                        <a:lnTo>
                          <a:pt x="404" y="137"/>
                        </a:lnTo>
                        <a:lnTo>
                          <a:pt x="402" y="139"/>
                        </a:lnTo>
                        <a:lnTo>
                          <a:pt x="402" y="139"/>
                        </a:lnTo>
                        <a:lnTo>
                          <a:pt x="402" y="142"/>
                        </a:lnTo>
                        <a:lnTo>
                          <a:pt x="402" y="142"/>
                        </a:lnTo>
                        <a:lnTo>
                          <a:pt x="402" y="142"/>
                        </a:lnTo>
                        <a:lnTo>
                          <a:pt x="402" y="142"/>
                        </a:lnTo>
                        <a:lnTo>
                          <a:pt x="399" y="142"/>
                        </a:lnTo>
                        <a:lnTo>
                          <a:pt x="399" y="142"/>
                        </a:lnTo>
                        <a:lnTo>
                          <a:pt x="390" y="137"/>
                        </a:lnTo>
                        <a:lnTo>
                          <a:pt x="390" y="137"/>
                        </a:lnTo>
                        <a:lnTo>
                          <a:pt x="387" y="137"/>
                        </a:lnTo>
                        <a:lnTo>
                          <a:pt x="387" y="137"/>
                        </a:lnTo>
                        <a:lnTo>
                          <a:pt x="380" y="139"/>
                        </a:lnTo>
                        <a:lnTo>
                          <a:pt x="380" y="139"/>
                        </a:lnTo>
                        <a:lnTo>
                          <a:pt x="376" y="139"/>
                        </a:lnTo>
                        <a:lnTo>
                          <a:pt x="376" y="139"/>
                        </a:lnTo>
                        <a:lnTo>
                          <a:pt x="371" y="139"/>
                        </a:lnTo>
                        <a:lnTo>
                          <a:pt x="371" y="139"/>
                        </a:lnTo>
                        <a:lnTo>
                          <a:pt x="371" y="137"/>
                        </a:lnTo>
                        <a:lnTo>
                          <a:pt x="371" y="137"/>
                        </a:lnTo>
                        <a:lnTo>
                          <a:pt x="366" y="137"/>
                        </a:lnTo>
                        <a:lnTo>
                          <a:pt x="366" y="137"/>
                        </a:lnTo>
                        <a:lnTo>
                          <a:pt x="347" y="132"/>
                        </a:lnTo>
                        <a:lnTo>
                          <a:pt x="347" y="132"/>
                        </a:lnTo>
                        <a:lnTo>
                          <a:pt x="345" y="132"/>
                        </a:lnTo>
                        <a:lnTo>
                          <a:pt x="345" y="132"/>
                        </a:lnTo>
                        <a:lnTo>
                          <a:pt x="345" y="132"/>
                        </a:lnTo>
                        <a:lnTo>
                          <a:pt x="345" y="132"/>
                        </a:lnTo>
                        <a:lnTo>
                          <a:pt x="345" y="135"/>
                        </a:lnTo>
                        <a:lnTo>
                          <a:pt x="345" y="135"/>
                        </a:lnTo>
                        <a:lnTo>
                          <a:pt x="343" y="139"/>
                        </a:lnTo>
                        <a:lnTo>
                          <a:pt x="343" y="139"/>
                        </a:lnTo>
                        <a:lnTo>
                          <a:pt x="343" y="144"/>
                        </a:lnTo>
                        <a:lnTo>
                          <a:pt x="343" y="144"/>
                        </a:lnTo>
                        <a:lnTo>
                          <a:pt x="343" y="154"/>
                        </a:lnTo>
                        <a:lnTo>
                          <a:pt x="343" y="154"/>
                        </a:lnTo>
                        <a:lnTo>
                          <a:pt x="343" y="154"/>
                        </a:lnTo>
                        <a:lnTo>
                          <a:pt x="343" y="154"/>
                        </a:lnTo>
                        <a:lnTo>
                          <a:pt x="343" y="154"/>
                        </a:lnTo>
                        <a:lnTo>
                          <a:pt x="343" y="154"/>
                        </a:lnTo>
                        <a:lnTo>
                          <a:pt x="343" y="154"/>
                        </a:lnTo>
                        <a:lnTo>
                          <a:pt x="343" y="154"/>
                        </a:lnTo>
                        <a:lnTo>
                          <a:pt x="343" y="156"/>
                        </a:lnTo>
                        <a:lnTo>
                          <a:pt x="343" y="156"/>
                        </a:lnTo>
                        <a:lnTo>
                          <a:pt x="343" y="156"/>
                        </a:lnTo>
                        <a:lnTo>
                          <a:pt x="343" y="156"/>
                        </a:lnTo>
                        <a:lnTo>
                          <a:pt x="345" y="158"/>
                        </a:lnTo>
                        <a:lnTo>
                          <a:pt x="345" y="158"/>
                        </a:lnTo>
                        <a:lnTo>
                          <a:pt x="345" y="158"/>
                        </a:lnTo>
                        <a:lnTo>
                          <a:pt x="345" y="158"/>
                        </a:lnTo>
                        <a:lnTo>
                          <a:pt x="366" y="156"/>
                        </a:lnTo>
                        <a:lnTo>
                          <a:pt x="366" y="156"/>
                        </a:lnTo>
                        <a:lnTo>
                          <a:pt x="369" y="156"/>
                        </a:lnTo>
                        <a:lnTo>
                          <a:pt x="369" y="156"/>
                        </a:lnTo>
                        <a:lnTo>
                          <a:pt x="371" y="156"/>
                        </a:lnTo>
                        <a:lnTo>
                          <a:pt x="371" y="156"/>
                        </a:lnTo>
                        <a:lnTo>
                          <a:pt x="376" y="156"/>
                        </a:lnTo>
                        <a:lnTo>
                          <a:pt x="376" y="156"/>
                        </a:lnTo>
                        <a:lnTo>
                          <a:pt x="380" y="158"/>
                        </a:lnTo>
                        <a:lnTo>
                          <a:pt x="380" y="158"/>
                        </a:lnTo>
                        <a:lnTo>
                          <a:pt x="380" y="158"/>
                        </a:lnTo>
                        <a:lnTo>
                          <a:pt x="380" y="158"/>
                        </a:lnTo>
                        <a:lnTo>
                          <a:pt x="378" y="161"/>
                        </a:lnTo>
                        <a:lnTo>
                          <a:pt x="378" y="161"/>
                        </a:lnTo>
                        <a:lnTo>
                          <a:pt x="378" y="161"/>
                        </a:lnTo>
                        <a:lnTo>
                          <a:pt x="378" y="161"/>
                        </a:lnTo>
                        <a:lnTo>
                          <a:pt x="380" y="163"/>
                        </a:lnTo>
                        <a:lnTo>
                          <a:pt x="380" y="163"/>
                        </a:lnTo>
                        <a:lnTo>
                          <a:pt x="380" y="165"/>
                        </a:lnTo>
                        <a:lnTo>
                          <a:pt x="380" y="165"/>
                        </a:lnTo>
                        <a:lnTo>
                          <a:pt x="397" y="172"/>
                        </a:lnTo>
                        <a:lnTo>
                          <a:pt x="397" y="172"/>
                        </a:lnTo>
                        <a:lnTo>
                          <a:pt x="409" y="175"/>
                        </a:lnTo>
                        <a:lnTo>
                          <a:pt x="409" y="175"/>
                        </a:lnTo>
                        <a:lnTo>
                          <a:pt x="413" y="175"/>
                        </a:lnTo>
                        <a:lnTo>
                          <a:pt x="413" y="175"/>
                        </a:lnTo>
                        <a:lnTo>
                          <a:pt x="425" y="177"/>
                        </a:lnTo>
                        <a:lnTo>
                          <a:pt x="425" y="177"/>
                        </a:lnTo>
                        <a:lnTo>
                          <a:pt x="430" y="177"/>
                        </a:lnTo>
                        <a:lnTo>
                          <a:pt x="430" y="177"/>
                        </a:lnTo>
                        <a:lnTo>
                          <a:pt x="435" y="177"/>
                        </a:lnTo>
                        <a:lnTo>
                          <a:pt x="435" y="177"/>
                        </a:lnTo>
                        <a:lnTo>
                          <a:pt x="437" y="172"/>
                        </a:lnTo>
                        <a:lnTo>
                          <a:pt x="437" y="172"/>
                        </a:lnTo>
                        <a:lnTo>
                          <a:pt x="439" y="170"/>
                        </a:lnTo>
                        <a:lnTo>
                          <a:pt x="439" y="170"/>
                        </a:lnTo>
                        <a:lnTo>
                          <a:pt x="439" y="170"/>
                        </a:lnTo>
                        <a:lnTo>
                          <a:pt x="439" y="170"/>
                        </a:lnTo>
                        <a:lnTo>
                          <a:pt x="444" y="170"/>
                        </a:lnTo>
                        <a:lnTo>
                          <a:pt x="444" y="170"/>
                        </a:lnTo>
                        <a:lnTo>
                          <a:pt x="447" y="170"/>
                        </a:lnTo>
                        <a:lnTo>
                          <a:pt x="447" y="170"/>
                        </a:lnTo>
                        <a:lnTo>
                          <a:pt x="456" y="175"/>
                        </a:lnTo>
                        <a:lnTo>
                          <a:pt x="456" y="175"/>
                        </a:lnTo>
                        <a:lnTo>
                          <a:pt x="468" y="180"/>
                        </a:lnTo>
                        <a:lnTo>
                          <a:pt x="468" y="180"/>
                        </a:lnTo>
                        <a:lnTo>
                          <a:pt x="472" y="184"/>
                        </a:lnTo>
                        <a:lnTo>
                          <a:pt x="472" y="184"/>
                        </a:lnTo>
                        <a:lnTo>
                          <a:pt x="477" y="189"/>
                        </a:lnTo>
                        <a:lnTo>
                          <a:pt x="477" y="189"/>
                        </a:lnTo>
                        <a:lnTo>
                          <a:pt x="484" y="196"/>
                        </a:lnTo>
                        <a:lnTo>
                          <a:pt x="484" y="196"/>
                        </a:lnTo>
                        <a:lnTo>
                          <a:pt x="487" y="201"/>
                        </a:lnTo>
                        <a:lnTo>
                          <a:pt x="487" y="201"/>
                        </a:lnTo>
                        <a:lnTo>
                          <a:pt x="491" y="205"/>
                        </a:lnTo>
                        <a:lnTo>
                          <a:pt x="491" y="205"/>
                        </a:lnTo>
                        <a:lnTo>
                          <a:pt x="498" y="215"/>
                        </a:lnTo>
                        <a:lnTo>
                          <a:pt x="498" y="215"/>
                        </a:lnTo>
                        <a:lnTo>
                          <a:pt x="508" y="222"/>
                        </a:lnTo>
                        <a:lnTo>
                          <a:pt x="508" y="222"/>
                        </a:lnTo>
                        <a:lnTo>
                          <a:pt x="513" y="227"/>
                        </a:lnTo>
                        <a:lnTo>
                          <a:pt x="513" y="227"/>
                        </a:lnTo>
                        <a:lnTo>
                          <a:pt x="527" y="239"/>
                        </a:lnTo>
                        <a:lnTo>
                          <a:pt x="527" y="239"/>
                        </a:lnTo>
                        <a:lnTo>
                          <a:pt x="529" y="243"/>
                        </a:lnTo>
                        <a:lnTo>
                          <a:pt x="529" y="243"/>
                        </a:lnTo>
                        <a:lnTo>
                          <a:pt x="532" y="246"/>
                        </a:lnTo>
                        <a:lnTo>
                          <a:pt x="532" y="246"/>
                        </a:lnTo>
                        <a:lnTo>
                          <a:pt x="532" y="250"/>
                        </a:lnTo>
                        <a:lnTo>
                          <a:pt x="532" y="250"/>
                        </a:lnTo>
                        <a:lnTo>
                          <a:pt x="532" y="255"/>
                        </a:lnTo>
                        <a:lnTo>
                          <a:pt x="532" y="255"/>
                        </a:lnTo>
                        <a:lnTo>
                          <a:pt x="520" y="276"/>
                        </a:lnTo>
                        <a:lnTo>
                          <a:pt x="520" y="276"/>
                        </a:lnTo>
                        <a:lnTo>
                          <a:pt x="517" y="279"/>
                        </a:lnTo>
                        <a:lnTo>
                          <a:pt x="517" y="279"/>
                        </a:lnTo>
                        <a:lnTo>
                          <a:pt x="515" y="283"/>
                        </a:lnTo>
                        <a:lnTo>
                          <a:pt x="515" y="283"/>
                        </a:lnTo>
                        <a:lnTo>
                          <a:pt x="515" y="288"/>
                        </a:lnTo>
                        <a:lnTo>
                          <a:pt x="515" y="288"/>
                        </a:lnTo>
                        <a:lnTo>
                          <a:pt x="515" y="291"/>
                        </a:lnTo>
                        <a:lnTo>
                          <a:pt x="515" y="291"/>
                        </a:lnTo>
                        <a:lnTo>
                          <a:pt x="515" y="293"/>
                        </a:lnTo>
                        <a:lnTo>
                          <a:pt x="515" y="293"/>
                        </a:lnTo>
                        <a:lnTo>
                          <a:pt x="513" y="298"/>
                        </a:lnTo>
                        <a:lnTo>
                          <a:pt x="513" y="298"/>
                        </a:lnTo>
                        <a:lnTo>
                          <a:pt x="513" y="298"/>
                        </a:lnTo>
                        <a:lnTo>
                          <a:pt x="513" y="298"/>
                        </a:lnTo>
                        <a:lnTo>
                          <a:pt x="510" y="300"/>
                        </a:lnTo>
                        <a:lnTo>
                          <a:pt x="510" y="300"/>
                        </a:lnTo>
                        <a:lnTo>
                          <a:pt x="506" y="298"/>
                        </a:lnTo>
                        <a:lnTo>
                          <a:pt x="506" y="298"/>
                        </a:lnTo>
                        <a:lnTo>
                          <a:pt x="498" y="295"/>
                        </a:lnTo>
                        <a:lnTo>
                          <a:pt x="498" y="295"/>
                        </a:lnTo>
                        <a:lnTo>
                          <a:pt x="496" y="293"/>
                        </a:lnTo>
                        <a:lnTo>
                          <a:pt x="496" y="293"/>
                        </a:lnTo>
                        <a:lnTo>
                          <a:pt x="494" y="293"/>
                        </a:lnTo>
                        <a:lnTo>
                          <a:pt x="494" y="293"/>
                        </a:lnTo>
                        <a:lnTo>
                          <a:pt x="491" y="291"/>
                        </a:lnTo>
                        <a:lnTo>
                          <a:pt x="491" y="291"/>
                        </a:lnTo>
                        <a:lnTo>
                          <a:pt x="491" y="293"/>
                        </a:lnTo>
                        <a:lnTo>
                          <a:pt x="491" y="293"/>
                        </a:lnTo>
                        <a:lnTo>
                          <a:pt x="491" y="293"/>
                        </a:lnTo>
                        <a:lnTo>
                          <a:pt x="491" y="293"/>
                        </a:lnTo>
                        <a:lnTo>
                          <a:pt x="491" y="295"/>
                        </a:lnTo>
                        <a:lnTo>
                          <a:pt x="491" y="295"/>
                        </a:lnTo>
                        <a:lnTo>
                          <a:pt x="491" y="298"/>
                        </a:lnTo>
                        <a:lnTo>
                          <a:pt x="491" y="298"/>
                        </a:lnTo>
                        <a:lnTo>
                          <a:pt x="491" y="300"/>
                        </a:lnTo>
                        <a:lnTo>
                          <a:pt x="491" y="300"/>
                        </a:lnTo>
                        <a:lnTo>
                          <a:pt x="491" y="300"/>
                        </a:lnTo>
                        <a:lnTo>
                          <a:pt x="491" y="300"/>
                        </a:lnTo>
                        <a:lnTo>
                          <a:pt x="491" y="305"/>
                        </a:lnTo>
                        <a:lnTo>
                          <a:pt x="491" y="305"/>
                        </a:lnTo>
                        <a:lnTo>
                          <a:pt x="489" y="307"/>
                        </a:lnTo>
                        <a:lnTo>
                          <a:pt x="489" y="307"/>
                        </a:lnTo>
                        <a:lnTo>
                          <a:pt x="489" y="309"/>
                        </a:lnTo>
                        <a:lnTo>
                          <a:pt x="489" y="309"/>
                        </a:lnTo>
                        <a:lnTo>
                          <a:pt x="487" y="319"/>
                        </a:lnTo>
                        <a:lnTo>
                          <a:pt x="487" y="319"/>
                        </a:lnTo>
                        <a:lnTo>
                          <a:pt x="484" y="324"/>
                        </a:lnTo>
                        <a:lnTo>
                          <a:pt x="484" y="324"/>
                        </a:lnTo>
                        <a:lnTo>
                          <a:pt x="475" y="324"/>
                        </a:lnTo>
                        <a:lnTo>
                          <a:pt x="475" y="324"/>
                        </a:lnTo>
                        <a:lnTo>
                          <a:pt x="470" y="321"/>
                        </a:lnTo>
                        <a:lnTo>
                          <a:pt x="470" y="321"/>
                        </a:lnTo>
                        <a:lnTo>
                          <a:pt x="470" y="319"/>
                        </a:lnTo>
                        <a:lnTo>
                          <a:pt x="470" y="319"/>
                        </a:lnTo>
                        <a:lnTo>
                          <a:pt x="465" y="307"/>
                        </a:lnTo>
                        <a:lnTo>
                          <a:pt x="465" y="307"/>
                        </a:lnTo>
                        <a:lnTo>
                          <a:pt x="461" y="300"/>
                        </a:lnTo>
                        <a:lnTo>
                          <a:pt x="461" y="300"/>
                        </a:lnTo>
                        <a:lnTo>
                          <a:pt x="456" y="293"/>
                        </a:lnTo>
                        <a:lnTo>
                          <a:pt x="456" y="293"/>
                        </a:lnTo>
                        <a:lnTo>
                          <a:pt x="454" y="291"/>
                        </a:lnTo>
                        <a:lnTo>
                          <a:pt x="454" y="291"/>
                        </a:lnTo>
                        <a:lnTo>
                          <a:pt x="442" y="286"/>
                        </a:lnTo>
                        <a:lnTo>
                          <a:pt x="442" y="286"/>
                        </a:lnTo>
                        <a:lnTo>
                          <a:pt x="439" y="286"/>
                        </a:lnTo>
                        <a:lnTo>
                          <a:pt x="439" y="286"/>
                        </a:lnTo>
                        <a:lnTo>
                          <a:pt x="439" y="286"/>
                        </a:lnTo>
                        <a:lnTo>
                          <a:pt x="439" y="286"/>
                        </a:lnTo>
                        <a:lnTo>
                          <a:pt x="437" y="288"/>
                        </a:lnTo>
                        <a:lnTo>
                          <a:pt x="437" y="288"/>
                        </a:lnTo>
                        <a:lnTo>
                          <a:pt x="428" y="288"/>
                        </a:lnTo>
                        <a:lnTo>
                          <a:pt x="428" y="288"/>
                        </a:lnTo>
                        <a:lnTo>
                          <a:pt x="425" y="288"/>
                        </a:lnTo>
                        <a:lnTo>
                          <a:pt x="425" y="288"/>
                        </a:lnTo>
                        <a:lnTo>
                          <a:pt x="421" y="288"/>
                        </a:lnTo>
                        <a:lnTo>
                          <a:pt x="421" y="288"/>
                        </a:lnTo>
                        <a:lnTo>
                          <a:pt x="413" y="286"/>
                        </a:lnTo>
                        <a:lnTo>
                          <a:pt x="413" y="286"/>
                        </a:lnTo>
                        <a:lnTo>
                          <a:pt x="409" y="283"/>
                        </a:lnTo>
                        <a:lnTo>
                          <a:pt x="409" y="283"/>
                        </a:lnTo>
                        <a:lnTo>
                          <a:pt x="406" y="281"/>
                        </a:lnTo>
                        <a:lnTo>
                          <a:pt x="406" y="281"/>
                        </a:lnTo>
                        <a:lnTo>
                          <a:pt x="406" y="279"/>
                        </a:lnTo>
                        <a:lnTo>
                          <a:pt x="406" y="279"/>
                        </a:lnTo>
                        <a:lnTo>
                          <a:pt x="406" y="279"/>
                        </a:lnTo>
                        <a:lnTo>
                          <a:pt x="406" y="279"/>
                        </a:lnTo>
                        <a:lnTo>
                          <a:pt x="404" y="279"/>
                        </a:lnTo>
                        <a:lnTo>
                          <a:pt x="404" y="279"/>
                        </a:lnTo>
                        <a:lnTo>
                          <a:pt x="397" y="279"/>
                        </a:lnTo>
                        <a:lnTo>
                          <a:pt x="397" y="279"/>
                        </a:lnTo>
                        <a:lnTo>
                          <a:pt x="387" y="281"/>
                        </a:lnTo>
                        <a:lnTo>
                          <a:pt x="387" y="281"/>
                        </a:lnTo>
                        <a:lnTo>
                          <a:pt x="376" y="283"/>
                        </a:lnTo>
                        <a:lnTo>
                          <a:pt x="376" y="283"/>
                        </a:lnTo>
                        <a:lnTo>
                          <a:pt x="371" y="283"/>
                        </a:lnTo>
                        <a:lnTo>
                          <a:pt x="371" y="283"/>
                        </a:lnTo>
                        <a:lnTo>
                          <a:pt x="366" y="286"/>
                        </a:lnTo>
                        <a:lnTo>
                          <a:pt x="366" y="286"/>
                        </a:lnTo>
                        <a:lnTo>
                          <a:pt x="364" y="286"/>
                        </a:lnTo>
                        <a:lnTo>
                          <a:pt x="364" y="286"/>
                        </a:lnTo>
                        <a:lnTo>
                          <a:pt x="357" y="286"/>
                        </a:lnTo>
                        <a:lnTo>
                          <a:pt x="357" y="286"/>
                        </a:lnTo>
                        <a:lnTo>
                          <a:pt x="354" y="286"/>
                        </a:lnTo>
                        <a:lnTo>
                          <a:pt x="354" y="286"/>
                        </a:lnTo>
                        <a:lnTo>
                          <a:pt x="352" y="283"/>
                        </a:lnTo>
                        <a:lnTo>
                          <a:pt x="352" y="283"/>
                        </a:lnTo>
                        <a:lnTo>
                          <a:pt x="352" y="281"/>
                        </a:lnTo>
                        <a:lnTo>
                          <a:pt x="352" y="281"/>
                        </a:lnTo>
                        <a:lnTo>
                          <a:pt x="350" y="279"/>
                        </a:lnTo>
                        <a:lnTo>
                          <a:pt x="350" y="279"/>
                        </a:lnTo>
                        <a:lnTo>
                          <a:pt x="347" y="279"/>
                        </a:lnTo>
                        <a:lnTo>
                          <a:pt x="347" y="279"/>
                        </a:lnTo>
                        <a:lnTo>
                          <a:pt x="347" y="279"/>
                        </a:lnTo>
                        <a:lnTo>
                          <a:pt x="347" y="279"/>
                        </a:lnTo>
                        <a:lnTo>
                          <a:pt x="345" y="279"/>
                        </a:lnTo>
                        <a:lnTo>
                          <a:pt x="345" y="279"/>
                        </a:lnTo>
                        <a:lnTo>
                          <a:pt x="345" y="281"/>
                        </a:lnTo>
                        <a:lnTo>
                          <a:pt x="345" y="281"/>
                        </a:lnTo>
                        <a:lnTo>
                          <a:pt x="345" y="281"/>
                        </a:lnTo>
                        <a:lnTo>
                          <a:pt x="345" y="281"/>
                        </a:lnTo>
                        <a:lnTo>
                          <a:pt x="345" y="283"/>
                        </a:lnTo>
                        <a:lnTo>
                          <a:pt x="345" y="283"/>
                        </a:lnTo>
                        <a:lnTo>
                          <a:pt x="345" y="286"/>
                        </a:lnTo>
                        <a:lnTo>
                          <a:pt x="345" y="286"/>
                        </a:lnTo>
                        <a:lnTo>
                          <a:pt x="345" y="288"/>
                        </a:lnTo>
                        <a:lnTo>
                          <a:pt x="345" y="288"/>
                        </a:lnTo>
                        <a:lnTo>
                          <a:pt x="343" y="288"/>
                        </a:lnTo>
                        <a:lnTo>
                          <a:pt x="343" y="288"/>
                        </a:lnTo>
                        <a:lnTo>
                          <a:pt x="340" y="286"/>
                        </a:lnTo>
                        <a:lnTo>
                          <a:pt x="340" y="286"/>
                        </a:lnTo>
                        <a:lnTo>
                          <a:pt x="338" y="286"/>
                        </a:lnTo>
                        <a:lnTo>
                          <a:pt x="338" y="286"/>
                        </a:lnTo>
                        <a:lnTo>
                          <a:pt x="338" y="283"/>
                        </a:lnTo>
                        <a:lnTo>
                          <a:pt x="338" y="283"/>
                        </a:lnTo>
                        <a:lnTo>
                          <a:pt x="335" y="281"/>
                        </a:lnTo>
                        <a:lnTo>
                          <a:pt x="335" y="281"/>
                        </a:lnTo>
                        <a:lnTo>
                          <a:pt x="335" y="279"/>
                        </a:lnTo>
                        <a:lnTo>
                          <a:pt x="335" y="279"/>
                        </a:lnTo>
                        <a:lnTo>
                          <a:pt x="335" y="279"/>
                        </a:lnTo>
                        <a:lnTo>
                          <a:pt x="335" y="279"/>
                        </a:lnTo>
                        <a:lnTo>
                          <a:pt x="326" y="276"/>
                        </a:lnTo>
                        <a:lnTo>
                          <a:pt x="326" y="276"/>
                        </a:lnTo>
                        <a:lnTo>
                          <a:pt x="321" y="276"/>
                        </a:lnTo>
                        <a:lnTo>
                          <a:pt x="321" y="276"/>
                        </a:lnTo>
                        <a:lnTo>
                          <a:pt x="307" y="274"/>
                        </a:lnTo>
                        <a:lnTo>
                          <a:pt x="307" y="274"/>
                        </a:lnTo>
                        <a:lnTo>
                          <a:pt x="302" y="276"/>
                        </a:lnTo>
                        <a:lnTo>
                          <a:pt x="302" y="276"/>
                        </a:lnTo>
                        <a:lnTo>
                          <a:pt x="302" y="279"/>
                        </a:lnTo>
                        <a:lnTo>
                          <a:pt x="302" y="279"/>
                        </a:lnTo>
                        <a:lnTo>
                          <a:pt x="300" y="281"/>
                        </a:lnTo>
                        <a:lnTo>
                          <a:pt x="300" y="281"/>
                        </a:lnTo>
                        <a:lnTo>
                          <a:pt x="298" y="283"/>
                        </a:lnTo>
                        <a:lnTo>
                          <a:pt x="298" y="283"/>
                        </a:lnTo>
                        <a:lnTo>
                          <a:pt x="293" y="283"/>
                        </a:lnTo>
                        <a:lnTo>
                          <a:pt x="293" y="283"/>
                        </a:lnTo>
                        <a:lnTo>
                          <a:pt x="291" y="283"/>
                        </a:lnTo>
                        <a:lnTo>
                          <a:pt x="291" y="283"/>
                        </a:lnTo>
                        <a:lnTo>
                          <a:pt x="288" y="286"/>
                        </a:lnTo>
                        <a:lnTo>
                          <a:pt x="288" y="286"/>
                        </a:lnTo>
                        <a:lnTo>
                          <a:pt x="281" y="298"/>
                        </a:lnTo>
                        <a:lnTo>
                          <a:pt x="281" y="298"/>
                        </a:lnTo>
                        <a:lnTo>
                          <a:pt x="276" y="307"/>
                        </a:lnTo>
                        <a:lnTo>
                          <a:pt x="276" y="307"/>
                        </a:lnTo>
                        <a:lnTo>
                          <a:pt x="267" y="319"/>
                        </a:lnTo>
                        <a:lnTo>
                          <a:pt x="267" y="319"/>
                        </a:lnTo>
                        <a:lnTo>
                          <a:pt x="260" y="319"/>
                        </a:lnTo>
                        <a:lnTo>
                          <a:pt x="260" y="319"/>
                        </a:lnTo>
                        <a:lnTo>
                          <a:pt x="248" y="319"/>
                        </a:lnTo>
                        <a:lnTo>
                          <a:pt x="248" y="319"/>
                        </a:lnTo>
                        <a:lnTo>
                          <a:pt x="246" y="321"/>
                        </a:lnTo>
                        <a:lnTo>
                          <a:pt x="246" y="321"/>
                        </a:lnTo>
                        <a:lnTo>
                          <a:pt x="243" y="321"/>
                        </a:lnTo>
                        <a:lnTo>
                          <a:pt x="243" y="321"/>
                        </a:lnTo>
                        <a:lnTo>
                          <a:pt x="239" y="319"/>
                        </a:lnTo>
                        <a:lnTo>
                          <a:pt x="239" y="319"/>
                        </a:lnTo>
                        <a:lnTo>
                          <a:pt x="236" y="319"/>
                        </a:lnTo>
                        <a:lnTo>
                          <a:pt x="236" y="319"/>
                        </a:lnTo>
                        <a:lnTo>
                          <a:pt x="234" y="319"/>
                        </a:lnTo>
                        <a:lnTo>
                          <a:pt x="234" y="319"/>
                        </a:lnTo>
                        <a:lnTo>
                          <a:pt x="234" y="319"/>
                        </a:lnTo>
                        <a:lnTo>
                          <a:pt x="234" y="319"/>
                        </a:lnTo>
                        <a:lnTo>
                          <a:pt x="229" y="321"/>
                        </a:lnTo>
                        <a:lnTo>
                          <a:pt x="229" y="321"/>
                        </a:lnTo>
                        <a:lnTo>
                          <a:pt x="229" y="321"/>
                        </a:lnTo>
                        <a:lnTo>
                          <a:pt x="229" y="321"/>
                        </a:lnTo>
                        <a:lnTo>
                          <a:pt x="227" y="321"/>
                        </a:lnTo>
                        <a:lnTo>
                          <a:pt x="227" y="321"/>
                        </a:lnTo>
                        <a:lnTo>
                          <a:pt x="224" y="324"/>
                        </a:lnTo>
                        <a:lnTo>
                          <a:pt x="224" y="324"/>
                        </a:lnTo>
                        <a:lnTo>
                          <a:pt x="217" y="326"/>
                        </a:lnTo>
                        <a:lnTo>
                          <a:pt x="217" y="326"/>
                        </a:lnTo>
                        <a:lnTo>
                          <a:pt x="217" y="328"/>
                        </a:lnTo>
                        <a:lnTo>
                          <a:pt x="217" y="328"/>
                        </a:lnTo>
                        <a:lnTo>
                          <a:pt x="210" y="326"/>
                        </a:lnTo>
                        <a:lnTo>
                          <a:pt x="210" y="326"/>
                        </a:lnTo>
                        <a:lnTo>
                          <a:pt x="208" y="324"/>
                        </a:lnTo>
                        <a:lnTo>
                          <a:pt x="208" y="324"/>
                        </a:lnTo>
                        <a:lnTo>
                          <a:pt x="210" y="321"/>
                        </a:lnTo>
                        <a:lnTo>
                          <a:pt x="210" y="321"/>
                        </a:lnTo>
                        <a:lnTo>
                          <a:pt x="210" y="321"/>
                        </a:lnTo>
                        <a:lnTo>
                          <a:pt x="210" y="321"/>
                        </a:lnTo>
                        <a:lnTo>
                          <a:pt x="206" y="312"/>
                        </a:lnTo>
                        <a:lnTo>
                          <a:pt x="206" y="312"/>
                        </a:lnTo>
                        <a:lnTo>
                          <a:pt x="206" y="309"/>
                        </a:lnTo>
                        <a:lnTo>
                          <a:pt x="206" y="309"/>
                        </a:lnTo>
                        <a:lnTo>
                          <a:pt x="206" y="309"/>
                        </a:lnTo>
                        <a:lnTo>
                          <a:pt x="206" y="309"/>
                        </a:lnTo>
                        <a:lnTo>
                          <a:pt x="208" y="305"/>
                        </a:lnTo>
                        <a:lnTo>
                          <a:pt x="208" y="305"/>
                        </a:lnTo>
                        <a:lnTo>
                          <a:pt x="208" y="295"/>
                        </a:lnTo>
                        <a:lnTo>
                          <a:pt x="208" y="295"/>
                        </a:lnTo>
                        <a:lnTo>
                          <a:pt x="208" y="288"/>
                        </a:lnTo>
                        <a:lnTo>
                          <a:pt x="208" y="288"/>
                        </a:lnTo>
                        <a:lnTo>
                          <a:pt x="206" y="286"/>
                        </a:lnTo>
                        <a:lnTo>
                          <a:pt x="206" y="286"/>
                        </a:lnTo>
                        <a:lnTo>
                          <a:pt x="203" y="283"/>
                        </a:lnTo>
                        <a:lnTo>
                          <a:pt x="203" y="283"/>
                        </a:lnTo>
                        <a:lnTo>
                          <a:pt x="198" y="283"/>
                        </a:lnTo>
                        <a:lnTo>
                          <a:pt x="198" y="283"/>
                        </a:lnTo>
                        <a:lnTo>
                          <a:pt x="194" y="281"/>
                        </a:lnTo>
                        <a:lnTo>
                          <a:pt x="194" y="281"/>
                        </a:lnTo>
                        <a:lnTo>
                          <a:pt x="194" y="281"/>
                        </a:lnTo>
                        <a:lnTo>
                          <a:pt x="194" y="281"/>
                        </a:lnTo>
                        <a:lnTo>
                          <a:pt x="191" y="283"/>
                        </a:lnTo>
                        <a:lnTo>
                          <a:pt x="191" y="283"/>
                        </a:lnTo>
                        <a:lnTo>
                          <a:pt x="189" y="286"/>
                        </a:lnTo>
                        <a:lnTo>
                          <a:pt x="189" y="286"/>
                        </a:lnTo>
                        <a:lnTo>
                          <a:pt x="189" y="288"/>
                        </a:lnTo>
                        <a:lnTo>
                          <a:pt x="189" y="288"/>
                        </a:lnTo>
                        <a:lnTo>
                          <a:pt x="189" y="293"/>
                        </a:lnTo>
                        <a:lnTo>
                          <a:pt x="189" y="293"/>
                        </a:lnTo>
                        <a:lnTo>
                          <a:pt x="187" y="295"/>
                        </a:lnTo>
                        <a:lnTo>
                          <a:pt x="187" y="295"/>
                        </a:lnTo>
                        <a:lnTo>
                          <a:pt x="182" y="298"/>
                        </a:lnTo>
                        <a:lnTo>
                          <a:pt x="182" y="298"/>
                        </a:lnTo>
                        <a:lnTo>
                          <a:pt x="170" y="298"/>
                        </a:lnTo>
                        <a:lnTo>
                          <a:pt x="170" y="298"/>
                        </a:lnTo>
                        <a:lnTo>
                          <a:pt x="165" y="302"/>
                        </a:lnTo>
                        <a:lnTo>
                          <a:pt x="165" y="302"/>
                        </a:lnTo>
                        <a:lnTo>
                          <a:pt x="163" y="309"/>
                        </a:lnTo>
                        <a:lnTo>
                          <a:pt x="163" y="309"/>
                        </a:lnTo>
                        <a:lnTo>
                          <a:pt x="161" y="312"/>
                        </a:lnTo>
                        <a:lnTo>
                          <a:pt x="161" y="312"/>
                        </a:lnTo>
                        <a:lnTo>
                          <a:pt x="158" y="314"/>
                        </a:lnTo>
                        <a:lnTo>
                          <a:pt x="158" y="314"/>
                        </a:lnTo>
                        <a:lnTo>
                          <a:pt x="156" y="314"/>
                        </a:lnTo>
                        <a:lnTo>
                          <a:pt x="156" y="314"/>
                        </a:lnTo>
                        <a:lnTo>
                          <a:pt x="154" y="317"/>
                        </a:lnTo>
                        <a:lnTo>
                          <a:pt x="154" y="317"/>
                        </a:lnTo>
                        <a:lnTo>
                          <a:pt x="151" y="317"/>
                        </a:lnTo>
                        <a:lnTo>
                          <a:pt x="151" y="317"/>
                        </a:lnTo>
                        <a:lnTo>
                          <a:pt x="151" y="314"/>
                        </a:lnTo>
                        <a:lnTo>
                          <a:pt x="151" y="314"/>
                        </a:lnTo>
                        <a:lnTo>
                          <a:pt x="151" y="312"/>
                        </a:lnTo>
                        <a:lnTo>
                          <a:pt x="151" y="312"/>
                        </a:lnTo>
                        <a:lnTo>
                          <a:pt x="149" y="309"/>
                        </a:lnTo>
                        <a:lnTo>
                          <a:pt x="149" y="309"/>
                        </a:lnTo>
                        <a:lnTo>
                          <a:pt x="147" y="307"/>
                        </a:lnTo>
                        <a:lnTo>
                          <a:pt x="147" y="307"/>
                        </a:lnTo>
                        <a:lnTo>
                          <a:pt x="142" y="305"/>
                        </a:lnTo>
                        <a:lnTo>
                          <a:pt x="142" y="305"/>
                        </a:lnTo>
                        <a:lnTo>
                          <a:pt x="137" y="305"/>
                        </a:lnTo>
                        <a:lnTo>
                          <a:pt x="137" y="305"/>
                        </a:lnTo>
                        <a:lnTo>
                          <a:pt x="137" y="305"/>
                        </a:lnTo>
                        <a:lnTo>
                          <a:pt x="137" y="305"/>
                        </a:lnTo>
                        <a:lnTo>
                          <a:pt x="132" y="309"/>
                        </a:lnTo>
                        <a:lnTo>
                          <a:pt x="132" y="309"/>
                        </a:lnTo>
                        <a:lnTo>
                          <a:pt x="132" y="312"/>
                        </a:lnTo>
                        <a:lnTo>
                          <a:pt x="132" y="312"/>
                        </a:lnTo>
                        <a:lnTo>
                          <a:pt x="132" y="314"/>
                        </a:lnTo>
                        <a:lnTo>
                          <a:pt x="132" y="314"/>
                        </a:lnTo>
                        <a:lnTo>
                          <a:pt x="132" y="317"/>
                        </a:lnTo>
                        <a:lnTo>
                          <a:pt x="132" y="317"/>
                        </a:lnTo>
                        <a:lnTo>
                          <a:pt x="135" y="326"/>
                        </a:lnTo>
                        <a:lnTo>
                          <a:pt x="135" y="326"/>
                        </a:lnTo>
                        <a:lnTo>
                          <a:pt x="139" y="333"/>
                        </a:lnTo>
                        <a:lnTo>
                          <a:pt x="139" y="333"/>
                        </a:lnTo>
                        <a:lnTo>
                          <a:pt x="139" y="335"/>
                        </a:lnTo>
                        <a:lnTo>
                          <a:pt x="139" y="335"/>
                        </a:lnTo>
                        <a:lnTo>
                          <a:pt x="137" y="345"/>
                        </a:lnTo>
                        <a:lnTo>
                          <a:pt x="137" y="345"/>
                        </a:lnTo>
                        <a:lnTo>
                          <a:pt x="132" y="352"/>
                        </a:lnTo>
                        <a:lnTo>
                          <a:pt x="132" y="352"/>
                        </a:lnTo>
                        <a:lnTo>
                          <a:pt x="132" y="352"/>
                        </a:lnTo>
                        <a:lnTo>
                          <a:pt x="132" y="352"/>
                        </a:lnTo>
                        <a:lnTo>
                          <a:pt x="130" y="354"/>
                        </a:lnTo>
                        <a:lnTo>
                          <a:pt x="130" y="354"/>
                        </a:lnTo>
                        <a:lnTo>
                          <a:pt x="123" y="366"/>
                        </a:lnTo>
                        <a:lnTo>
                          <a:pt x="123" y="366"/>
                        </a:lnTo>
                        <a:lnTo>
                          <a:pt x="118" y="378"/>
                        </a:lnTo>
                        <a:lnTo>
                          <a:pt x="118" y="378"/>
                        </a:lnTo>
                        <a:lnTo>
                          <a:pt x="113" y="383"/>
                        </a:lnTo>
                        <a:lnTo>
                          <a:pt x="113" y="383"/>
                        </a:lnTo>
                        <a:lnTo>
                          <a:pt x="111" y="387"/>
                        </a:lnTo>
                        <a:lnTo>
                          <a:pt x="111" y="387"/>
                        </a:lnTo>
                        <a:lnTo>
                          <a:pt x="102" y="399"/>
                        </a:lnTo>
                        <a:lnTo>
                          <a:pt x="102" y="399"/>
                        </a:lnTo>
                        <a:lnTo>
                          <a:pt x="97" y="409"/>
                        </a:lnTo>
                        <a:lnTo>
                          <a:pt x="97" y="409"/>
                        </a:lnTo>
                        <a:lnTo>
                          <a:pt x="95" y="423"/>
                        </a:lnTo>
                        <a:lnTo>
                          <a:pt x="95" y="423"/>
                        </a:lnTo>
                        <a:lnTo>
                          <a:pt x="87" y="437"/>
                        </a:lnTo>
                        <a:lnTo>
                          <a:pt x="87" y="437"/>
                        </a:lnTo>
                        <a:lnTo>
                          <a:pt x="85" y="437"/>
                        </a:lnTo>
                        <a:lnTo>
                          <a:pt x="85" y="437"/>
                        </a:lnTo>
                        <a:lnTo>
                          <a:pt x="85" y="437"/>
                        </a:lnTo>
                        <a:lnTo>
                          <a:pt x="85" y="437"/>
                        </a:lnTo>
                        <a:lnTo>
                          <a:pt x="78" y="425"/>
                        </a:lnTo>
                        <a:lnTo>
                          <a:pt x="78" y="425"/>
                        </a:lnTo>
                        <a:lnTo>
                          <a:pt x="78" y="423"/>
                        </a:lnTo>
                        <a:lnTo>
                          <a:pt x="78" y="423"/>
                        </a:lnTo>
                        <a:lnTo>
                          <a:pt x="76" y="420"/>
                        </a:lnTo>
                        <a:lnTo>
                          <a:pt x="76" y="420"/>
                        </a:lnTo>
                        <a:lnTo>
                          <a:pt x="76" y="418"/>
                        </a:lnTo>
                        <a:lnTo>
                          <a:pt x="76" y="418"/>
                        </a:lnTo>
                        <a:lnTo>
                          <a:pt x="73" y="413"/>
                        </a:lnTo>
                        <a:lnTo>
                          <a:pt x="73" y="413"/>
                        </a:lnTo>
                        <a:lnTo>
                          <a:pt x="73" y="413"/>
                        </a:lnTo>
                        <a:lnTo>
                          <a:pt x="73" y="413"/>
                        </a:lnTo>
                        <a:lnTo>
                          <a:pt x="69" y="409"/>
                        </a:lnTo>
                        <a:lnTo>
                          <a:pt x="69" y="409"/>
                        </a:lnTo>
                        <a:lnTo>
                          <a:pt x="66" y="409"/>
                        </a:lnTo>
                        <a:lnTo>
                          <a:pt x="66" y="409"/>
                        </a:lnTo>
                        <a:lnTo>
                          <a:pt x="61" y="409"/>
                        </a:lnTo>
                        <a:lnTo>
                          <a:pt x="61" y="409"/>
                        </a:lnTo>
                        <a:lnTo>
                          <a:pt x="57" y="409"/>
                        </a:lnTo>
                        <a:lnTo>
                          <a:pt x="57" y="409"/>
                        </a:lnTo>
                        <a:lnTo>
                          <a:pt x="50" y="404"/>
                        </a:lnTo>
                        <a:lnTo>
                          <a:pt x="50" y="404"/>
                        </a:lnTo>
                        <a:lnTo>
                          <a:pt x="54" y="399"/>
                        </a:lnTo>
                        <a:lnTo>
                          <a:pt x="54" y="399"/>
                        </a:lnTo>
                        <a:lnTo>
                          <a:pt x="54" y="399"/>
                        </a:lnTo>
                        <a:lnTo>
                          <a:pt x="54" y="399"/>
                        </a:lnTo>
                        <a:lnTo>
                          <a:pt x="57" y="397"/>
                        </a:lnTo>
                        <a:lnTo>
                          <a:pt x="57" y="397"/>
                        </a:lnTo>
                        <a:lnTo>
                          <a:pt x="57" y="394"/>
                        </a:lnTo>
                        <a:lnTo>
                          <a:pt x="57" y="394"/>
                        </a:lnTo>
                        <a:lnTo>
                          <a:pt x="54" y="392"/>
                        </a:lnTo>
                        <a:lnTo>
                          <a:pt x="54" y="392"/>
                        </a:lnTo>
                        <a:lnTo>
                          <a:pt x="52" y="385"/>
                        </a:lnTo>
                        <a:lnTo>
                          <a:pt x="52" y="385"/>
                        </a:lnTo>
                        <a:lnTo>
                          <a:pt x="52" y="380"/>
                        </a:lnTo>
                        <a:lnTo>
                          <a:pt x="52" y="380"/>
                        </a:lnTo>
                        <a:lnTo>
                          <a:pt x="52" y="378"/>
                        </a:lnTo>
                        <a:lnTo>
                          <a:pt x="52" y="378"/>
                        </a:lnTo>
                        <a:lnTo>
                          <a:pt x="52" y="376"/>
                        </a:lnTo>
                        <a:lnTo>
                          <a:pt x="52" y="376"/>
                        </a:lnTo>
                        <a:lnTo>
                          <a:pt x="50" y="371"/>
                        </a:lnTo>
                        <a:lnTo>
                          <a:pt x="50" y="371"/>
                        </a:lnTo>
                        <a:lnTo>
                          <a:pt x="50" y="368"/>
                        </a:lnTo>
                        <a:lnTo>
                          <a:pt x="50" y="368"/>
                        </a:lnTo>
                        <a:lnTo>
                          <a:pt x="45" y="364"/>
                        </a:lnTo>
                        <a:lnTo>
                          <a:pt x="45" y="364"/>
                        </a:lnTo>
                        <a:lnTo>
                          <a:pt x="40" y="359"/>
                        </a:lnTo>
                        <a:lnTo>
                          <a:pt x="40" y="359"/>
                        </a:lnTo>
                        <a:lnTo>
                          <a:pt x="40" y="359"/>
                        </a:lnTo>
                        <a:lnTo>
                          <a:pt x="40" y="359"/>
                        </a:lnTo>
                        <a:lnTo>
                          <a:pt x="38" y="359"/>
                        </a:lnTo>
                        <a:lnTo>
                          <a:pt x="38" y="359"/>
                        </a:lnTo>
                        <a:lnTo>
                          <a:pt x="35" y="357"/>
                        </a:lnTo>
                        <a:lnTo>
                          <a:pt x="35" y="357"/>
                        </a:lnTo>
                        <a:lnTo>
                          <a:pt x="35" y="357"/>
                        </a:lnTo>
                        <a:lnTo>
                          <a:pt x="35" y="357"/>
                        </a:lnTo>
                        <a:lnTo>
                          <a:pt x="35" y="352"/>
                        </a:lnTo>
                        <a:lnTo>
                          <a:pt x="35" y="352"/>
                        </a:lnTo>
                        <a:lnTo>
                          <a:pt x="38" y="345"/>
                        </a:lnTo>
                        <a:lnTo>
                          <a:pt x="38" y="345"/>
                        </a:lnTo>
                        <a:lnTo>
                          <a:pt x="33" y="335"/>
                        </a:lnTo>
                        <a:lnTo>
                          <a:pt x="33" y="335"/>
                        </a:lnTo>
                        <a:lnTo>
                          <a:pt x="33" y="328"/>
                        </a:lnTo>
                        <a:lnTo>
                          <a:pt x="33" y="328"/>
                        </a:lnTo>
                        <a:lnTo>
                          <a:pt x="33" y="321"/>
                        </a:lnTo>
                        <a:lnTo>
                          <a:pt x="33" y="321"/>
                        </a:lnTo>
                        <a:lnTo>
                          <a:pt x="35" y="317"/>
                        </a:lnTo>
                        <a:lnTo>
                          <a:pt x="35" y="317"/>
                        </a:lnTo>
                        <a:lnTo>
                          <a:pt x="40" y="307"/>
                        </a:lnTo>
                        <a:lnTo>
                          <a:pt x="40" y="307"/>
                        </a:lnTo>
                        <a:lnTo>
                          <a:pt x="40" y="298"/>
                        </a:lnTo>
                        <a:lnTo>
                          <a:pt x="40" y="298"/>
                        </a:lnTo>
                        <a:lnTo>
                          <a:pt x="38" y="295"/>
                        </a:lnTo>
                        <a:lnTo>
                          <a:pt x="38" y="295"/>
                        </a:lnTo>
                        <a:lnTo>
                          <a:pt x="33" y="293"/>
                        </a:lnTo>
                        <a:lnTo>
                          <a:pt x="33" y="293"/>
                        </a:lnTo>
                        <a:lnTo>
                          <a:pt x="33" y="291"/>
                        </a:lnTo>
                        <a:lnTo>
                          <a:pt x="33" y="291"/>
                        </a:lnTo>
                        <a:lnTo>
                          <a:pt x="31" y="288"/>
                        </a:lnTo>
                        <a:lnTo>
                          <a:pt x="31" y="288"/>
                        </a:lnTo>
                        <a:lnTo>
                          <a:pt x="28" y="286"/>
                        </a:lnTo>
                        <a:lnTo>
                          <a:pt x="28" y="286"/>
                        </a:lnTo>
                        <a:lnTo>
                          <a:pt x="21" y="281"/>
                        </a:lnTo>
                        <a:lnTo>
                          <a:pt x="21" y="281"/>
                        </a:lnTo>
                        <a:lnTo>
                          <a:pt x="19" y="276"/>
                        </a:lnTo>
                        <a:lnTo>
                          <a:pt x="19" y="276"/>
                        </a:lnTo>
                        <a:lnTo>
                          <a:pt x="17" y="276"/>
                        </a:lnTo>
                        <a:lnTo>
                          <a:pt x="17" y="276"/>
                        </a:lnTo>
                        <a:lnTo>
                          <a:pt x="19" y="269"/>
                        </a:lnTo>
                        <a:lnTo>
                          <a:pt x="19" y="269"/>
                        </a:lnTo>
                        <a:lnTo>
                          <a:pt x="19" y="262"/>
                        </a:lnTo>
                        <a:lnTo>
                          <a:pt x="19" y="262"/>
                        </a:lnTo>
                        <a:lnTo>
                          <a:pt x="5" y="243"/>
                        </a:lnTo>
                        <a:lnTo>
                          <a:pt x="5" y="243"/>
                        </a:lnTo>
                        <a:lnTo>
                          <a:pt x="0" y="243"/>
                        </a:lnTo>
                        <a:lnTo>
                          <a:pt x="0" y="243"/>
                        </a:lnTo>
                        <a:lnTo>
                          <a:pt x="2" y="239"/>
                        </a:lnTo>
                        <a:lnTo>
                          <a:pt x="2" y="239"/>
                        </a:lnTo>
                        <a:lnTo>
                          <a:pt x="5" y="236"/>
                        </a:lnTo>
                        <a:lnTo>
                          <a:pt x="5" y="236"/>
                        </a:lnTo>
                        <a:lnTo>
                          <a:pt x="10" y="236"/>
                        </a:lnTo>
                        <a:lnTo>
                          <a:pt x="10" y="236"/>
                        </a:lnTo>
                        <a:lnTo>
                          <a:pt x="19" y="236"/>
                        </a:lnTo>
                        <a:lnTo>
                          <a:pt x="19" y="236"/>
                        </a:lnTo>
                        <a:lnTo>
                          <a:pt x="24" y="234"/>
                        </a:lnTo>
                        <a:lnTo>
                          <a:pt x="24" y="234"/>
                        </a:lnTo>
                        <a:lnTo>
                          <a:pt x="26" y="231"/>
                        </a:lnTo>
                        <a:lnTo>
                          <a:pt x="26" y="231"/>
                        </a:lnTo>
                        <a:lnTo>
                          <a:pt x="26" y="227"/>
                        </a:lnTo>
                        <a:lnTo>
                          <a:pt x="26" y="227"/>
                        </a:lnTo>
                        <a:lnTo>
                          <a:pt x="28" y="224"/>
                        </a:lnTo>
                        <a:lnTo>
                          <a:pt x="28" y="224"/>
                        </a:lnTo>
                        <a:lnTo>
                          <a:pt x="31" y="222"/>
                        </a:lnTo>
                        <a:lnTo>
                          <a:pt x="31" y="222"/>
                        </a:lnTo>
                        <a:lnTo>
                          <a:pt x="33" y="222"/>
                        </a:lnTo>
                        <a:lnTo>
                          <a:pt x="33" y="222"/>
                        </a:lnTo>
                        <a:lnTo>
                          <a:pt x="35" y="220"/>
                        </a:lnTo>
                        <a:lnTo>
                          <a:pt x="35" y="220"/>
                        </a:lnTo>
                        <a:lnTo>
                          <a:pt x="35" y="215"/>
                        </a:lnTo>
                        <a:lnTo>
                          <a:pt x="35" y="215"/>
                        </a:lnTo>
                        <a:lnTo>
                          <a:pt x="35" y="213"/>
                        </a:lnTo>
                        <a:lnTo>
                          <a:pt x="35" y="213"/>
                        </a:lnTo>
                        <a:lnTo>
                          <a:pt x="33" y="201"/>
                        </a:lnTo>
                        <a:lnTo>
                          <a:pt x="33" y="201"/>
                        </a:lnTo>
                        <a:lnTo>
                          <a:pt x="33" y="198"/>
                        </a:lnTo>
                        <a:lnTo>
                          <a:pt x="33" y="198"/>
                        </a:lnTo>
                        <a:lnTo>
                          <a:pt x="33" y="194"/>
                        </a:lnTo>
                        <a:lnTo>
                          <a:pt x="33" y="194"/>
                        </a:lnTo>
                        <a:lnTo>
                          <a:pt x="31" y="189"/>
                        </a:lnTo>
                        <a:lnTo>
                          <a:pt x="31" y="189"/>
                        </a:lnTo>
                        <a:lnTo>
                          <a:pt x="28" y="187"/>
                        </a:lnTo>
                        <a:lnTo>
                          <a:pt x="28" y="187"/>
                        </a:lnTo>
                        <a:lnTo>
                          <a:pt x="26" y="184"/>
                        </a:lnTo>
                        <a:lnTo>
                          <a:pt x="26" y="184"/>
                        </a:lnTo>
                        <a:lnTo>
                          <a:pt x="24" y="182"/>
                        </a:lnTo>
                        <a:lnTo>
                          <a:pt x="24" y="182"/>
                        </a:lnTo>
                        <a:lnTo>
                          <a:pt x="26" y="177"/>
                        </a:lnTo>
                        <a:lnTo>
                          <a:pt x="26" y="177"/>
                        </a:lnTo>
                        <a:lnTo>
                          <a:pt x="31" y="175"/>
                        </a:lnTo>
                        <a:lnTo>
                          <a:pt x="31" y="175"/>
                        </a:lnTo>
                        <a:lnTo>
                          <a:pt x="35" y="175"/>
                        </a:lnTo>
                        <a:lnTo>
                          <a:pt x="35" y="175"/>
                        </a:lnTo>
                        <a:lnTo>
                          <a:pt x="38" y="172"/>
                        </a:lnTo>
                        <a:lnTo>
                          <a:pt x="38" y="172"/>
                        </a:lnTo>
                        <a:lnTo>
                          <a:pt x="40" y="170"/>
                        </a:lnTo>
                        <a:lnTo>
                          <a:pt x="40" y="170"/>
                        </a:lnTo>
                        <a:lnTo>
                          <a:pt x="43" y="163"/>
                        </a:lnTo>
                        <a:lnTo>
                          <a:pt x="43" y="163"/>
                        </a:lnTo>
                        <a:lnTo>
                          <a:pt x="45" y="156"/>
                        </a:lnTo>
                        <a:lnTo>
                          <a:pt x="45" y="156"/>
                        </a:lnTo>
                        <a:lnTo>
                          <a:pt x="52" y="149"/>
                        </a:lnTo>
                        <a:lnTo>
                          <a:pt x="52" y="149"/>
                        </a:lnTo>
                        <a:lnTo>
                          <a:pt x="54" y="146"/>
                        </a:lnTo>
                        <a:lnTo>
                          <a:pt x="54" y="146"/>
                        </a:lnTo>
                        <a:lnTo>
                          <a:pt x="57" y="146"/>
                        </a:lnTo>
                        <a:lnTo>
                          <a:pt x="57" y="146"/>
                        </a:lnTo>
                        <a:lnTo>
                          <a:pt x="59" y="149"/>
                        </a:lnTo>
                        <a:lnTo>
                          <a:pt x="59" y="149"/>
                        </a:lnTo>
                        <a:lnTo>
                          <a:pt x="61" y="149"/>
                        </a:lnTo>
                        <a:lnTo>
                          <a:pt x="61" y="149"/>
                        </a:lnTo>
                        <a:lnTo>
                          <a:pt x="61" y="146"/>
                        </a:lnTo>
                        <a:lnTo>
                          <a:pt x="61" y="146"/>
                        </a:lnTo>
                        <a:lnTo>
                          <a:pt x="61" y="139"/>
                        </a:lnTo>
                        <a:lnTo>
                          <a:pt x="61" y="139"/>
                        </a:lnTo>
                        <a:lnTo>
                          <a:pt x="61" y="137"/>
                        </a:lnTo>
                        <a:lnTo>
                          <a:pt x="61" y="137"/>
                        </a:lnTo>
                        <a:lnTo>
                          <a:pt x="59" y="132"/>
                        </a:lnTo>
                        <a:lnTo>
                          <a:pt x="59" y="132"/>
                        </a:lnTo>
                        <a:lnTo>
                          <a:pt x="54" y="135"/>
                        </a:lnTo>
                        <a:lnTo>
                          <a:pt x="54" y="135"/>
                        </a:lnTo>
                        <a:lnTo>
                          <a:pt x="52" y="132"/>
                        </a:lnTo>
                        <a:lnTo>
                          <a:pt x="52" y="132"/>
                        </a:lnTo>
                        <a:lnTo>
                          <a:pt x="47" y="128"/>
                        </a:lnTo>
                        <a:lnTo>
                          <a:pt x="47" y="128"/>
                        </a:lnTo>
                        <a:lnTo>
                          <a:pt x="43" y="123"/>
                        </a:lnTo>
                        <a:lnTo>
                          <a:pt x="43" y="123"/>
                        </a:lnTo>
                        <a:lnTo>
                          <a:pt x="40" y="116"/>
                        </a:lnTo>
                        <a:lnTo>
                          <a:pt x="40" y="116"/>
                        </a:lnTo>
                        <a:lnTo>
                          <a:pt x="40" y="111"/>
                        </a:lnTo>
                        <a:lnTo>
                          <a:pt x="40" y="111"/>
                        </a:lnTo>
                        <a:lnTo>
                          <a:pt x="43" y="104"/>
                        </a:lnTo>
                        <a:lnTo>
                          <a:pt x="43" y="104"/>
                        </a:lnTo>
                        <a:lnTo>
                          <a:pt x="43" y="102"/>
                        </a:lnTo>
                        <a:lnTo>
                          <a:pt x="43" y="102"/>
                        </a:lnTo>
                        <a:lnTo>
                          <a:pt x="50" y="97"/>
                        </a:lnTo>
                        <a:lnTo>
                          <a:pt x="50" y="97"/>
                        </a:lnTo>
                        <a:lnTo>
                          <a:pt x="52" y="92"/>
                        </a:lnTo>
                        <a:lnTo>
                          <a:pt x="52" y="92"/>
                        </a:lnTo>
                        <a:lnTo>
                          <a:pt x="52" y="90"/>
                        </a:lnTo>
                        <a:lnTo>
                          <a:pt x="52" y="90"/>
                        </a:lnTo>
                        <a:lnTo>
                          <a:pt x="52" y="87"/>
                        </a:lnTo>
                        <a:lnTo>
                          <a:pt x="52" y="87"/>
                        </a:lnTo>
                        <a:lnTo>
                          <a:pt x="50" y="80"/>
                        </a:lnTo>
                        <a:lnTo>
                          <a:pt x="50" y="80"/>
                        </a:lnTo>
                        <a:lnTo>
                          <a:pt x="47" y="68"/>
                        </a:lnTo>
                        <a:lnTo>
                          <a:pt x="47" y="68"/>
                        </a:lnTo>
                        <a:lnTo>
                          <a:pt x="45" y="59"/>
                        </a:lnTo>
                        <a:lnTo>
                          <a:pt x="45" y="59"/>
                        </a:lnTo>
                        <a:lnTo>
                          <a:pt x="43" y="50"/>
                        </a:lnTo>
                        <a:lnTo>
                          <a:pt x="43" y="50"/>
                        </a:lnTo>
                        <a:lnTo>
                          <a:pt x="40" y="42"/>
                        </a:lnTo>
                        <a:lnTo>
                          <a:pt x="40" y="42"/>
                        </a:lnTo>
                        <a:lnTo>
                          <a:pt x="40" y="42"/>
                        </a:lnTo>
                        <a:lnTo>
                          <a:pt x="40" y="42"/>
                        </a:lnTo>
                        <a:lnTo>
                          <a:pt x="40" y="42"/>
                        </a:lnTo>
                        <a:lnTo>
                          <a:pt x="40" y="42"/>
                        </a:lnTo>
                        <a:close/>
                      </a:path>
                    </a:pathLst>
                  </a:custGeom>
                  <a:solidFill>
                    <a:srgbClr val="FFC000"/>
                  </a:solidFill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01" name="Freeform 1209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5070475" y="2801938"/>
                    <a:ext cx="9525" cy="11113"/>
                  </a:xfrm>
                  <a:custGeom>
                    <a:avLst/>
                    <a:gdLst/>
                    <a:ahLst/>
                    <a:cxnLst>
                      <a:cxn ang="0">
                        <a:pos x="3" y="7"/>
                      </a:cxn>
                      <a:cxn ang="0">
                        <a:pos x="0" y="5"/>
                      </a:cxn>
                      <a:cxn ang="0">
                        <a:pos x="0" y="5"/>
                      </a:cxn>
                      <a:cxn ang="0">
                        <a:pos x="0" y="5"/>
                      </a:cxn>
                      <a:cxn ang="0">
                        <a:pos x="0" y="5"/>
                      </a:cxn>
                      <a:cxn ang="0">
                        <a:pos x="0" y="5"/>
                      </a:cxn>
                      <a:cxn ang="0">
                        <a:pos x="0" y="5"/>
                      </a:cxn>
                      <a:cxn ang="0">
                        <a:pos x="0" y="2"/>
                      </a:cxn>
                      <a:cxn ang="0">
                        <a:pos x="0" y="2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3" y="0"/>
                      </a:cxn>
                      <a:cxn ang="0">
                        <a:pos x="3" y="0"/>
                      </a:cxn>
                      <a:cxn ang="0">
                        <a:pos x="3" y="2"/>
                      </a:cxn>
                      <a:cxn ang="0">
                        <a:pos x="3" y="2"/>
                      </a:cxn>
                      <a:cxn ang="0">
                        <a:pos x="3" y="2"/>
                      </a:cxn>
                      <a:cxn ang="0">
                        <a:pos x="3" y="2"/>
                      </a:cxn>
                      <a:cxn ang="0">
                        <a:pos x="5" y="5"/>
                      </a:cxn>
                      <a:cxn ang="0">
                        <a:pos x="5" y="5"/>
                      </a:cxn>
                      <a:cxn ang="0">
                        <a:pos x="5" y="5"/>
                      </a:cxn>
                      <a:cxn ang="0">
                        <a:pos x="5" y="5"/>
                      </a:cxn>
                      <a:cxn ang="0">
                        <a:pos x="3" y="7"/>
                      </a:cxn>
                      <a:cxn ang="0">
                        <a:pos x="3" y="7"/>
                      </a:cxn>
                      <a:cxn ang="0">
                        <a:pos x="3" y="7"/>
                      </a:cxn>
                      <a:cxn ang="0">
                        <a:pos x="3" y="7"/>
                      </a:cxn>
                      <a:cxn ang="0">
                        <a:pos x="3" y="7"/>
                      </a:cxn>
                      <a:cxn ang="0">
                        <a:pos x="3" y="7"/>
                      </a:cxn>
                      <a:cxn ang="0">
                        <a:pos x="3" y="7"/>
                      </a:cxn>
                      <a:cxn ang="0">
                        <a:pos x="3" y="7"/>
                      </a:cxn>
                    </a:cxnLst>
                    <a:rect l="0" t="0" r="r" b="b"/>
                    <a:pathLst>
                      <a:path w="5" h="7">
                        <a:moveTo>
                          <a:pt x="3" y="7"/>
                        </a:move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3" y="2"/>
                        </a:lnTo>
                        <a:lnTo>
                          <a:pt x="3" y="2"/>
                        </a:lnTo>
                        <a:lnTo>
                          <a:pt x="3" y="2"/>
                        </a:lnTo>
                        <a:lnTo>
                          <a:pt x="3" y="2"/>
                        </a:lnTo>
                        <a:lnTo>
                          <a:pt x="5" y="5"/>
                        </a:lnTo>
                        <a:lnTo>
                          <a:pt x="5" y="5"/>
                        </a:lnTo>
                        <a:lnTo>
                          <a:pt x="5" y="5"/>
                        </a:lnTo>
                        <a:lnTo>
                          <a:pt x="5" y="5"/>
                        </a:lnTo>
                        <a:lnTo>
                          <a:pt x="3" y="7"/>
                        </a:lnTo>
                        <a:lnTo>
                          <a:pt x="3" y="7"/>
                        </a:lnTo>
                        <a:lnTo>
                          <a:pt x="3" y="7"/>
                        </a:lnTo>
                        <a:lnTo>
                          <a:pt x="3" y="7"/>
                        </a:lnTo>
                        <a:lnTo>
                          <a:pt x="3" y="7"/>
                        </a:lnTo>
                        <a:lnTo>
                          <a:pt x="3" y="7"/>
                        </a:lnTo>
                        <a:lnTo>
                          <a:pt x="3" y="7"/>
                        </a:lnTo>
                        <a:lnTo>
                          <a:pt x="3" y="7"/>
                        </a:lnTo>
                        <a:close/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02" name="Freeform 1210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5126038" y="2857500"/>
                    <a:ext cx="52387" cy="28575"/>
                  </a:xfrm>
                  <a:custGeom>
                    <a:avLst/>
                    <a:gdLst/>
                    <a:ahLst/>
                    <a:cxnLst>
                      <a:cxn ang="0">
                        <a:pos x="7" y="12"/>
                      </a:cxn>
                      <a:cxn ang="0">
                        <a:pos x="0" y="5"/>
                      </a:cxn>
                      <a:cxn ang="0">
                        <a:pos x="0" y="5"/>
                      </a:cxn>
                      <a:cxn ang="0">
                        <a:pos x="0" y="2"/>
                      </a:cxn>
                      <a:cxn ang="0">
                        <a:pos x="3" y="0"/>
                      </a:cxn>
                      <a:cxn ang="0">
                        <a:pos x="3" y="0"/>
                      </a:cxn>
                      <a:cxn ang="0">
                        <a:pos x="3" y="0"/>
                      </a:cxn>
                      <a:cxn ang="0">
                        <a:pos x="3" y="0"/>
                      </a:cxn>
                      <a:cxn ang="0">
                        <a:pos x="5" y="0"/>
                      </a:cxn>
                      <a:cxn ang="0">
                        <a:pos x="10" y="5"/>
                      </a:cxn>
                      <a:cxn ang="0">
                        <a:pos x="12" y="5"/>
                      </a:cxn>
                      <a:cxn ang="0">
                        <a:pos x="12" y="5"/>
                      </a:cxn>
                      <a:cxn ang="0">
                        <a:pos x="12" y="5"/>
                      </a:cxn>
                      <a:cxn ang="0">
                        <a:pos x="12" y="5"/>
                      </a:cxn>
                      <a:cxn ang="0">
                        <a:pos x="15" y="5"/>
                      </a:cxn>
                      <a:cxn ang="0">
                        <a:pos x="19" y="7"/>
                      </a:cxn>
                      <a:cxn ang="0">
                        <a:pos x="19" y="7"/>
                      </a:cxn>
                      <a:cxn ang="0">
                        <a:pos x="22" y="7"/>
                      </a:cxn>
                      <a:cxn ang="0">
                        <a:pos x="22" y="7"/>
                      </a:cxn>
                      <a:cxn ang="0">
                        <a:pos x="26" y="7"/>
                      </a:cxn>
                      <a:cxn ang="0">
                        <a:pos x="26" y="7"/>
                      </a:cxn>
                      <a:cxn ang="0">
                        <a:pos x="29" y="7"/>
                      </a:cxn>
                      <a:cxn ang="0">
                        <a:pos x="31" y="12"/>
                      </a:cxn>
                      <a:cxn ang="0">
                        <a:pos x="31" y="12"/>
                      </a:cxn>
                      <a:cxn ang="0">
                        <a:pos x="31" y="14"/>
                      </a:cxn>
                      <a:cxn ang="0">
                        <a:pos x="31" y="14"/>
                      </a:cxn>
                      <a:cxn ang="0">
                        <a:pos x="31" y="17"/>
                      </a:cxn>
                      <a:cxn ang="0">
                        <a:pos x="31" y="17"/>
                      </a:cxn>
                      <a:cxn ang="0">
                        <a:pos x="29" y="17"/>
                      </a:cxn>
                      <a:cxn ang="0">
                        <a:pos x="29" y="17"/>
                      </a:cxn>
                      <a:cxn ang="0">
                        <a:pos x="24" y="14"/>
                      </a:cxn>
                      <a:cxn ang="0">
                        <a:pos x="22" y="14"/>
                      </a:cxn>
                      <a:cxn ang="0">
                        <a:pos x="22" y="14"/>
                      </a:cxn>
                      <a:cxn ang="0">
                        <a:pos x="22" y="14"/>
                      </a:cxn>
                      <a:cxn ang="0">
                        <a:pos x="15" y="17"/>
                      </a:cxn>
                      <a:cxn ang="0">
                        <a:pos x="10" y="14"/>
                      </a:cxn>
                      <a:cxn ang="0">
                        <a:pos x="10" y="14"/>
                      </a:cxn>
                      <a:cxn ang="0">
                        <a:pos x="7" y="14"/>
                      </a:cxn>
                      <a:cxn ang="0">
                        <a:pos x="7" y="14"/>
                      </a:cxn>
                    </a:cxnLst>
                    <a:rect l="0" t="0" r="r" b="b"/>
                    <a:pathLst>
                      <a:path w="31" h="17">
                        <a:moveTo>
                          <a:pt x="7" y="14"/>
                        </a:moveTo>
                        <a:lnTo>
                          <a:pt x="7" y="12"/>
                        </a:lnTo>
                        <a:lnTo>
                          <a:pt x="7" y="12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5" y="0"/>
                        </a:lnTo>
                        <a:lnTo>
                          <a:pt x="5" y="0"/>
                        </a:lnTo>
                        <a:lnTo>
                          <a:pt x="10" y="5"/>
                        </a:lnTo>
                        <a:lnTo>
                          <a:pt x="10" y="5"/>
                        </a:lnTo>
                        <a:lnTo>
                          <a:pt x="12" y="5"/>
                        </a:lnTo>
                        <a:lnTo>
                          <a:pt x="12" y="5"/>
                        </a:lnTo>
                        <a:lnTo>
                          <a:pt x="12" y="5"/>
                        </a:lnTo>
                        <a:lnTo>
                          <a:pt x="12" y="5"/>
                        </a:lnTo>
                        <a:lnTo>
                          <a:pt x="12" y="5"/>
                        </a:lnTo>
                        <a:lnTo>
                          <a:pt x="12" y="5"/>
                        </a:lnTo>
                        <a:lnTo>
                          <a:pt x="12" y="5"/>
                        </a:lnTo>
                        <a:lnTo>
                          <a:pt x="12" y="5"/>
                        </a:lnTo>
                        <a:lnTo>
                          <a:pt x="15" y="5"/>
                        </a:lnTo>
                        <a:lnTo>
                          <a:pt x="15" y="5"/>
                        </a:lnTo>
                        <a:lnTo>
                          <a:pt x="19" y="7"/>
                        </a:lnTo>
                        <a:lnTo>
                          <a:pt x="19" y="7"/>
                        </a:lnTo>
                        <a:lnTo>
                          <a:pt x="19" y="7"/>
                        </a:lnTo>
                        <a:lnTo>
                          <a:pt x="19" y="7"/>
                        </a:lnTo>
                        <a:lnTo>
                          <a:pt x="22" y="7"/>
                        </a:lnTo>
                        <a:lnTo>
                          <a:pt x="22" y="7"/>
                        </a:lnTo>
                        <a:lnTo>
                          <a:pt x="22" y="7"/>
                        </a:lnTo>
                        <a:lnTo>
                          <a:pt x="22" y="7"/>
                        </a:lnTo>
                        <a:lnTo>
                          <a:pt x="26" y="7"/>
                        </a:lnTo>
                        <a:lnTo>
                          <a:pt x="26" y="7"/>
                        </a:lnTo>
                        <a:lnTo>
                          <a:pt x="26" y="7"/>
                        </a:lnTo>
                        <a:lnTo>
                          <a:pt x="26" y="7"/>
                        </a:lnTo>
                        <a:lnTo>
                          <a:pt x="29" y="7"/>
                        </a:lnTo>
                        <a:lnTo>
                          <a:pt x="29" y="7"/>
                        </a:lnTo>
                        <a:lnTo>
                          <a:pt x="31" y="12"/>
                        </a:lnTo>
                        <a:lnTo>
                          <a:pt x="31" y="12"/>
                        </a:lnTo>
                        <a:lnTo>
                          <a:pt x="31" y="12"/>
                        </a:lnTo>
                        <a:lnTo>
                          <a:pt x="31" y="12"/>
                        </a:lnTo>
                        <a:lnTo>
                          <a:pt x="31" y="14"/>
                        </a:lnTo>
                        <a:lnTo>
                          <a:pt x="31" y="14"/>
                        </a:lnTo>
                        <a:lnTo>
                          <a:pt x="31" y="14"/>
                        </a:lnTo>
                        <a:lnTo>
                          <a:pt x="31" y="14"/>
                        </a:lnTo>
                        <a:lnTo>
                          <a:pt x="31" y="17"/>
                        </a:lnTo>
                        <a:lnTo>
                          <a:pt x="31" y="17"/>
                        </a:lnTo>
                        <a:lnTo>
                          <a:pt x="31" y="17"/>
                        </a:lnTo>
                        <a:lnTo>
                          <a:pt x="31" y="17"/>
                        </a:lnTo>
                        <a:lnTo>
                          <a:pt x="29" y="17"/>
                        </a:lnTo>
                        <a:lnTo>
                          <a:pt x="29" y="17"/>
                        </a:lnTo>
                        <a:lnTo>
                          <a:pt x="29" y="17"/>
                        </a:lnTo>
                        <a:lnTo>
                          <a:pt x="29" y="17"/>
                        </a:lnTo>
                        <a:lnTo>
                          <a:pt x="24" y="14"/>
                        </a:lnTo>
                        <a:lnTo>
                          <a:pt x="24" y="14"/>
                        </a:lnTo>
                        <a:lnTo>
                          <a:pt x="22" y="14"/>
                        </a:lnTo>
                        <a:lnTo>
                          <a:pt x="22" y="14"/>
                        </a:lnTo>
                        <a:lnTo>
                          <a:pt x="22" y="14"/>
                        </a:lnTo>
                        <a:lnTo>
                          <a:pt x="22" y="14"/>
                        </a:lnTo>
                        <a:lnTo>
                          <a:pt x="22" y="14"/>
                        </a:lnTo>
                        <a:lnTo>
                          <a:pt x="22" y="14"/>
                        </a:lnTo>
                        <a:lnTo>
                          <a:pt x="15" y="17"/>
                        </a:lnTo>
                        <a:lnTo>
                          <a:pt x="15" y="17"/>
                        </a:lnTo>
                        <a:lnTo>
                          <a:pt x="10" y="14"/>
                        </a:lnTo>
                        <a:lnTo>
                          <a:pt x="10" y="14"/>
                        </a:lnTo>
                        <a:lnTo>
                          <a:pt x="10" y="14"/>
                        </a:lnTo>
                        <a:lnTo>
                          <a:pt x="10" y="14"/>
                        </a:lnTo>
                        <a:lnTo>
                          <a:pt x="7" y="14"/>
                        </a:lnTo>
                        <a:lnTo>
                          <a:pt x="7" y="14"/>
                        </a:lnTo>
                        <a:lnTo>
                          <a:pt x="7" y="14"/>
                        </a:lnTo>
                        <a:lnTo>
                          <a:pt x="7" y="14"/>
                        </a:lnTo>
                        <a:close/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03" name="Freeform 1211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4457700" y="3040063"/>
                    <a:ext cx="20637" cy="26988"/>
                  </a:xfrm>
                  <a:custGeom>
                    <a:avLst/>
                    <a:gdLst/>
                    <a:ahLst/>
                    <a:cxnLst>
                      <a:cxn ang="0">
                        <a:pos x="3" y="16"/>
                      </a:cxn>
                      <a:cxn ang="0">
                        <a:pos x="0" y="14"/>
                      </a:cxn>
                      <a:cxn ang="0">
                        <a:pos x="0" y="14"/>
                      </a:cxn>
                      <a:cxn ang="0">
                        <a:pos x="0" y="14"/>
                      </a:cxn>
                      <a:cxn ang="0">
                        <a:pos x="0" y="14"/>
                      </a:cxn>
                      <a:cxn ang="0">
                        <a:pos x="0" y="11"/>
                      </a:cxn>
                      <a:cxn ang="0">
                        <a:pos x="0" y="11"/>
                      </a:cxn>
                      <a:cxn ang="0">
                        <a:pos x="3" y="4"/>
                      </a:cxn>
                      <a:cxn ang="0">
                        <a:pos x="3" y="4"/>
                      </a:cxn>
                      <a:cxn ang="0">
                        <a:pos x="5" y="0"/>
                      </a:cxn>
                      <a:cxn ang="0">
                        <a:pos x="5" y="0"/>
                      </a:cxn>
                      <a:cxn ang="0">
                        <a:pos x="5" y="0"/>
                      </a:cxn>
                      <a:cxn ang="0">
                        <a:pos x="5" y="0"/>
                      </a:cxn>
                      <a:cxn ang="0">
                        <a:pos x="7" y="2"/>
                      </a:cxn>
                      <a:cxn ang="0">
                        <a:pos x="7" y="2"/>
                      </a:cxn>
                      <a:cxn ang="0">
                        <a:pos x="10" y="2"/>
                      </a:cxn>
                      <a:cxn ang="0">
                        <a:pos x="10" y="2"/>
                      </a:cxn>
                      <a:cxn ang="0">
                        <a:pos x="10" y="2"/>
                      </a:cxn>
                      <a:cxn ang="0">
                        <a:pos x="10" y="2"/>
                      </a:cxn>
                      <a:cxn ang="0">
                        <a:pos x="10" y="4"/>
                      </a:cxn>
                      <a:cxn ang="0">
                        <a:pos x="10" y="4"/>
                      </a:cxn>
                      <a:cxn ang="0">
                        <a:pos x="10" y="4"/>
                      </a:cxn>
                      <a:cxn ang="0">
                        <a:pos x="10" y="4"/>
                      </a:cxn>
                      <a:cxn ang="0">
                        <a:pos x="10" y="7"/>
                      </a:cxn>
                      <a:cxn ang="0">
                        <a:pos x="10" y="7"/>
                      </a:cxn>
                      <a:cxn ang="0">
                        <a:pos x="10" y="7"/>
                      </a:cxn>
                      <a:cxn ang="0">
                        <a:pos x="10" y="7"/>
                      </a:cxn>
                      <a:cxn ang="0">
                        <a:pos x="10" y="7"/>
                      </a:cxn>
                      <a:cxn ang="0">
                        <a:pos x="10" y="7"/>
                      </a:cxn>
                      <a:cxn ang="0">
                        <a:pos x="12" y="7"/>
                      </a:cxn>
                      <a:cxn ang="0">
                        <a:pos x="12" y="7"/>
                      </a:cxn>
                      <a:cxn ang="0">
                        <a:pos x="12" y="7"/>
                      </a:cxn>
                      <a:cxn ang="0">
                        <a:pos x="12" y="7"/>
                      </a:cxn>
                      <a:cxn ang="0">
                        <a:pos x="12" y="7"/>
                      </a:cxn>
                      <a:cxn ang="0">
                        <a:pos x="12" y="7"/>
                      </a:cxn>
                      <a:cxn ang="0">
                        <a:pos x="12" y="7"/>
                      </a:cxn>
                      <a:cxn ang="0">
                        <a:pos x="12" y="7"/>
                      </a:cxn>
                      <a:cxn ang="0">
                        <a:pos x="12" y="7"/>
                      </a:cxn>
                      <a:cxn ang="0">
                        <a:pos x="12" y="7"/>
                      </a:cxn>
                      <a:cxn ang="0">
                        <a:pos x="12" y="7"/>
                      </a:cxn>
                      <a:cxn ang="0">
                        <a:pos x="12" y="7"/>
                      </a:cxn>
                      <a:cxn ang="0">
                        <a:pos x="12" y="9"/>
                      </a:cxn>
                      <a:cxn ang="0">
                        <a:pos x="12" y="9"/>
                      </a:cxn>
                      <a:cxn ang="0">
                        <a:pos x="10" y="11"/>
                      </a:cxn>
                      <a:cxn ang="0">
                        <a:pos x="10" y="11"/>
                      </a:cxn>
                      <a:cxn ang="0">
                        <a:pos x="7" y="14"/>
                      </a:cxn>
                      <a:cxn ang="0">
                        <a:pos x="7" y="14"/>
                      </a:cxn>
                      <a:cxn ang="0">
                        <a:pos x="5" y="14"/>
                      </a:cxn>
                      <a:cxn ang="0">
                        <a:pos x="5" y="14"/>
                      </a:cxn>
                      <a:cxn ang="0">
                        <a:pos x="3" y="16"/>
                      </a:cxn>
                      <a:cxn ang="0">
                        <a:pos x="3" y="16"/>
                      </a:cxn>
                      <a:cxn ang="0">
                        <a:pos x="3" y="16"/>
                      </a:cxn>
                      <a:cxn ang="0">
                        <a:pos x="3" y="16"/>
                      </a:cxn>
                      <a:cxn ang="0">
                        <a:pos x="3" y="16"/>
                      </a:cxn>
                      <a:cxn ang="0">
                        <a:pos x="3" y="16"/>
                      </a:cxn>
                    </a:cxnLst>
                    <a:rect l="0" t="0" r="r" b="b"/>
                    <a:pathLst>
                      <a:path w="12" h="16">
                        <a:moveTo>
                          <a:pt x="3" y="16"/>
                        </a:moveTo>
                        <a:lnTo>
                          <a:pt x="0" y="14"/>
                        </a:lnTo>
                        <a:lnTo>
                          <a:pt x="0" y="14"/>
                        </a:lnTo>
                        <a:lnTo>
                          <a:pt x="0" y="14"/>
                        </a:lnTo>
                        <a:lnTo>
                          <a:pt x="0" y="14"/>
                        </a:lnTo>
                        <a:lnTo>
                          <a:pt x="0" y="11"/>
                        </a:lnTo>
                        <a:lnTo>
                          <a:pt x="0" y="11"/>
                        </a:lnTo>
                        <a:lnTo>
                          <a:pt x="3" y="4"/>
                        </a:lnTo>
                        <a:lnTo>
                          <a:pt x="3" y="4"/>
                        </a:lnTo>
                        <a:lnTo>
                          <a:pt x="5" y="0"/>
                        </a:lnTo>
                        <a:lnTo>
                          <a:pt x="5" y="0"/>
                        </a:lnTo>
                        <a:lnTo>
                          <a:pt x="5" y="0"/>
                        </a:lnTo>
                        <a:lnTo>
                          <a:pt x="5" y="0"/>
                        </a:lnTo>
                        <a:lnTo>
                          <a:pt x="7" y="2"/>
                        </a:lnTo>
                        <a:lnTo>
                          <a:pt x="7" y="2"/>
                        </a:lnTo>
                        <a:lnTo>
                          <a:pt x="10" y="2"/>
                        </a:lnTo>
                        <a:lnTo>
                          <a:pt x="10" y="2"/>
                        </a:lnTo>
                        <a:lnTo>
                          <a:pt x="10" y="2"/>
                        </a:lnTo>
                        <a:lnTo>
                          <a:pt x="10" y="2"/>
                        </a:lnTo>
                        <a:lnTo>
                          <a:pt x="10" y="4"/>
                        </a:lnTo>
                        <a:lnTo>
                          <a:pt x="10" y="4"/>
                        </a:lnTo>
                        <a:lnTo>
                          <a:pt x="10" y="4"/>
                        </a:lnTo>
                        <a:lnTo>
                          <a:pt x="10" y="4"/>
                        </a:lnTo>
                        <a:lnTo>
                          <a:pt x="10" y="7"/>
                        </a:lnTo>
                        <a:lnTo>
                          <a:pt x="10" y="7"/>
                        </a:lnTo>
                        <a:lnTo>
                          <a:pt x="10" y="7"/>
                        </a:lnTo>
                        <a:lnTo>
                          <a:pt x="10" y="7"/>
                        </a:lnTo>
                        <a:lnTo>
                          <a:pt x="10" y="7"/>
                        </a:lnTo>
                        <a:lnTo>
                          <a:pt x="10" y="7"/>
                        </a:lnTo>
                        <a:lnTo>
                          <a:pt x="12" y="7"/>
                        </a:lnTo>
                        <a:lnTo>
                          <a:pt x="12" y="7"/>
                        </a:lnTo>
                        <a:lnTo>
                          <a:pt x="12" y="7"/>
                        </a:lnTo>
                        <a:lnTo>
                          <a:pt x="12" y="7"/>
                        </a:lnTo>
                        <a:lnTo>
                          <a:pt x="12" y="7"/>
                        </a:lnTo>
                        <a:lnTo>
                          <a:pt x="12" y="7"/>
                        </a:lnTo>
                        <a:lnTo>
                          <a:pt x="12" y="7"/>
                        </a:lnTo>
                        <a:lnTo>
                          <a:pt x="12" y="7"/>
                        </a:lnTo>
                        <a:lnTo>
                          <a:pt x="12" y="7"/>
                        </a:lnTo>
                        <a:lnTo>
                          <a:pt x="12" y="7"/>
                        </a:lnTo>
                        <a:lnTo>
                          <a:pt x="12" y="7"/>
                        </a:lnTo>
                        <a:lnTo>
                          <a:pt x="12" y="7"/>
                        </a:lnTo>
                        <a:lnTo>
                          <a:pt x="12" y="9"/>
                        </a:lnTo>
                        <a:lnTo>
                          <a:pt x="12" y="9"/>
                        </a:lnTo>
                        <a:lnTo>
                          <a:pt x="10" y="11"/>
                        </a:lnTo>
                        <a:lnTo>
                          <a:pt x="10" y="11"/>
                        </a:lnTo>
                        <a:lnTo>
                          <a:pt x="7" y="14"/>
                        </a:lnTo>
                        <a:lnTo>
                          <a:pt x="7" y="14"/>
                        </a:lnTo>
                        <a:lnTo>
                          <a:pt x="5" y="14"/>
                        </a:lnTo>
                        <a:lnTo>
                          <a:pt x="5" y="14"/>
                        </a:lnTo>
                        <a:lnTo>
                          <a:pt x="3" y="16"/>
                        </a:lnTo>
                        <a:lnTo>
                          <a:pt x="3" y="16"/>
                        </a:lnTo>
                        <a:lnTo>
                          <a:pt x="3" y="16"/>
                        </a:lnTo>
                        <a:lnTo>
                          <a:pt x="3" y="16"/>
                        </a:lnTo>
                        <a:lnTo>
                          <a:pt x="3" y="16"/>
                        </a:lnTo>
                        <a:lnTo>
                          <a:pt x="3" y="16"/>
                        </a:lnTo>
                        <a:close/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grpSp>
                <p:nvGrpSpPr>
                  <p:cNvPr id="404" name="Group 1212"/>
                  <p:cNvGrpSpPr>
                    <a:grpSpLocks/>
                  </p:cNvGrpSpPr>
                  <p:nvPr/>
                </p:nvGrpSpPr>
                <p:grpSpPr bwMode="auto">
                  <a:xfrm>
                    <a:off x="6486525" y="2828925"/>
                    <a:ext cx="88900" cy="127000"/>
                    <a:chOff x="4492" y="2283"/>
                    <a:chExt cx="61" cy="86"/>
                  </a:xfrm>
                  <a:grpFill/>
                  <a:effectLst/>
                </p:grpSpPr>
                <p:sp>
                  <p:nvSpPr>
                    <p:cNvPr id="433" name="Freeform 1213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4492" y="2283"/>
                      <a:ext cx="31" cy="27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24"/>
                        </a:cxn>
                        <a:cxn ang="0">
                          <a:pos x="0" y="22"/>
                        </a:cxn>
                        <a:cxn ang="0">
                          <a:pos x="0" y="22"/>
                        </a:cxn>
                        <a:cxn ang="0">
                          <a:pos x="0" y="22"/>
                        </a:cxn>
                        <a:cxn ang="0">
                          <a:pos x="0" y="22"/>
                        </a:cxn>
                        <a:cxn ang="0">
                          <a:pos x="4" y="17"/>
                        </a:cxn>
                        <a:cxn ang="0">
                          <a:pos x="4" y="17"/>
                        </a:cxn>
                        <a:cxn ang="0">
                          <a:pos x="7" y="17"/>
                        </a:cxn>
                        <a:cxn ang="0">
                          <a:pos x="7" y="17"/>
                        </a:cxn>
                        <a:cxn ang="0">
                          <a:pos x="7" y="17"/>
                        </a:cxn>
                        <a:cxn ang="0">
                          <a:pos x="7" y="17"/>
                        </a:cxn>
                        <a:cxn ang="0">
                          <a:pos x="9" y="17"/>
                        </a:cxn>
                        <a:cxn ang="0">
                          <a:pos x="9" y="17"/>
                        </a:cxn>
                        <a:cxn ang="0">
                          <a:pos x="14" y="12"/>
                        </a:cxn>
                        <a:cxn ang="0">
                          <a:pos x="14" y="12"/>
                        </a:cxn>
                        <a:cxn ang="0">
                          <a:pos x="14" y="12"/>
                        </a:cxn>
                        <a:cxn ang="0">
                          <a:pos x="14" y="12"/>
                        </a:cxn>
                        <a:cxn ang="0">
                          <a:pos x="14" y="10"/>
                        </a:cxn>
                        <a:cxn ang="0">
                          <a:pos x="14" y="10"/>
                        </a:cxn>
                        <a:cxn ang="0">
                          <a:pos x="14" y="10"/>
                        </a:cxn>
                        <a:cxn ang="0">
                          <a:pos x="14" y="10"/>
                        </a:cxn>
                        <a:cxn ang="0">
                          <a:pos x="14" y="8"/>
                        </a:cxn>
                        <a:cxn ang="0">
                          <a:pos x="14" y="8"/>
                        </a:cxn>
                        <a:cxn ang="0">
                          <a:pos x="19" y="5"/>
                        </a:cxn>
                        <a:cxn ang="0">
                          <a:pos x="19" y="5"/>
                        </a:cxn>
                        <a:cxn ang="0">
                          <a:pos x="23" y="5"/>
                        </a:cxn>
                        <a:cxn ang="0">
                          <a:pos x="23" y="5"/>
                        </a:cxn>
                        <a:cxn ang="0">
                          <a:pos x="26" y="3"/>
                        </a:cxn>
                        <a:cxn ang="0">
                          <a:pos x="26" y="3"/>
                        </a:cxn>
                        <a:cxn ang="0">
                          <a:pos x="28" y="0"/>
                        </a:cxn>
                        <a:cxn ang="0">
                          <a:pos x="28" y="0"/>
                        </a:cxn>
                        <a:cxn ang="0">
                          <a:pos x="28" y="3"/>
                        </a:cxn>
                        <a:cxn ang="0">
                          <a:pos x="28" y="3"/>
                        </a:cxn>
                        <a:cxn ang="0">
                          <a:pos x="28" y="3"/>
                        </a:cxn>
                        <a:cxn ang="0">
                          <a:pos x="28" y="3"/>
                        </a:cxn>
                        <a:cxn ang="0">
                          <a:pos x="26" y="10"/>
                        </a:cxn>
                        <a:cxn ang="0">
                          <a:pos x="26" y="10"/>
                        </a:cxn>
                        <a:cxn ang="0">
                          <a:pos x="21" y="15"/>
                        </a:cxn>
                        <a:cxn ang="0">
                          <a:pos x="21" y="15"/>
                        </a:cxn>
                        <a:cxn ang="0">
                          <a:pos x="14" y="19"/>
                        </a:cxn>
                        <a:cxn ang="0">
                          <a:pos x="14" y="19"/>
                        </a:cxn>
                        <a:cxn ang="0">
                          <a:pos x="11" y="22"/>
                        </a:cxn>
                        <a:cxn ang="0">
                          <a:pos x="11" y="22"/>
                        </a:cxn>
                        <a:cxn ang="0">
                          <a:pos x="9" y="22"/>
                        </a:cxn>
                        <a:cxn ang="0">
                          <a:pos x="9" y="22"/>
                        </a:cxn>
                        <a:cxn ang="0">
                          <a:pos x="7" y="19"/>
                        </a:cxn>
                        <a:cxn ang="0">
                          <a:pos x="7" y="19"/>
                        </a:cxn>
                        <a:cxn ang="0">
                          <a:pos x="7" y="19"/>
                        </a:cxn>
                        <a:cxn ang="0">
                          <a:pos x="7" y="19"/>
                        </a:cxn>
                        <a:cxn ang="0">
                          <a:pos x="0" y="24"/>
                        </a:cxn>
                        <a:cxn ang="0">
                          <a:pos x="0" y="24"/>
                        </a:cxn>
                        <a:cxn ang="0">
                          <a:pos x="0" y="24"/>
                        </a:cxn>
                        <a:cxn ang="0">
                          <a:pos x="0" y="24"/>
                        </a:cxn>
                      </a:cxnLst>
                      <a:rect l="0" t="0" r="r" b="b"/>
                      <a:pathLst>
                        <a:path w="28" h="24">
                          <a:moveTo>
                            <a:pt x="0" y="24"/>
                          </a:moveTo>
                          <a:lnTo>
                            <a:pt x="0" y="22"/>
                          </a:lnTo>
                          <a:lnTo>
                            <a:pt x="0" y="22"/>
                          </a:lnTo>
                          <a:lnTo>
                            <a:pt x="0" y="22"/>
                          </a:lnTo>
                          <a:lnTo>
                            <a:pt x="0" y="22"/>
                          </a:lnTo>
                          <a:lnTo>
                            <a:pt x="4" y="17"/>
                          </a:lnTo>
                          <a:lnTo>
                            <a:pt x="4" y="17"/>
                          </a:lnTo>
                          <a:lnTo>
                            <a:pt x="7" y="17"/>
                          </a:lnTo>
                          <a:lnTo>
                            <a:pt x="7" y="17"/>
                          </a:lnTo>
                          <a:lnTo>
                            <a:pt x="7" y="17"/>
                          </a:lnTo>
                          <a:lnTo>
                            <a:pt x="7" y="17"/>
                          </a:lnTo>
                          <a:lnTo>
                            <a:pt x="9" y="17"/>
                          </a:lnTo>
                          <a:lnTo>
                            <a:pt x="9" y="17"/>
                          </a:lnTo>
                          <a:lnTo>
                            <a:pt x="14" y="12"/>
                          </a:lnTo>
                          <a:lnTo>
                            <a:pt x="14" y="12"/>
                          </a:lnTo>
                          <a:lnTo>
                            <a:pt x="14" y="12"/>
                          </a:lnTo>
                          <a:lnTo>
                            <a:pt x="14" y="12"/>
                          </a:lnTo>
                          <a:lnTo>
                            <a:pt x="14" y="10"/>
                          </a:lnTo>
                          <a:lnTo>
                            <a:pt x="14" y="10"/>
                          </a:lnTo>
                          <a:lnTo>
                            <a:pt x="14" y="10"/>
                          </a:lnTo>
                          <a:lnTo>
                            <a:pt x="14" y="10"/>
                          </a:lnTo>
                          <a:lnTo>
                            <a:pt x="14" y="8"/>
                          </a:lnTo>
                          <a:lnTo>
                            <a:pt x="14" y="8"/>
                          </a:lnTo>
                          <a:lnTo>
                            <a:pt x="19" y="5"/>
                          </a:lnTo>
                          <a:lnTo>
                            <a:pt x="19" y="5"/>
                          </a:lnTo>
                          <a:lnTo>
                            <a:pt x="23" y="5"/>
                          </a:lnTo>
                          <a:lnTo>
                            <a:pt x="23" y="5"/>
                          </a:lnTo>
                          <a:lnTo>
                            <a:pt x="26" y="3"/>
                          </a:lnTo>
                          <a:lnTo>
                            <a:pt x="26" y="3"/>
                          </a:lnTo>
                          <a:lnTo>
                            <a:pt x="28" y="0"/>
                          </a:lnTo>
                          <a:lnTo>
                            <a:pt x="28" y="0"/>
                          </a:lnTo>
                          <a:lnTo>
                            <a:pt x="28" y="3"/>
                          </a:lnTo>
                          <a:lnTo>
                            <a:pt x="28" y="3"/>
                          </a:lnTo>
                          <a:lnTo>
                            <a:pt x="28" y="3"/>
                          </a:lnTo>
                          <a:lnTo>
                            <a:pt x="28" y="3"/>
                          </a:lnTo>
                          <a:lnTo>
                            <a:pt x="26" y="10"/>
                          </a:lnTo>
                          <a:lnTo>
                            <a:pt x="26" y="10"/>
                          </a:lnTo>
                          <a:lnTo>
                            <a:pt x="21" y="15"/>
                          </a:lnTo>
                          <a:lnTo>
                            <a:pt x="21" y="15"/>
                          </a:lnTo>
                          <a:lnTo>
                            <a:pt x="14" y="19"/>
                          </a:lnTo>
                          <a:lnTo>
                            <a:pt x="14" y="19"/>
                          </a:lnTo>
                          <a:lnTo>
                            <a:pt x="11" y="22"/>
                          </a:lnTo>
                          <a:lnTo>
                            <a:pt x="11" y="22"/>
                          </a:lnTo>
                          <a:lnTo>
                            <a:pt x="9" y="22"/>
                          </a:lnTo>
                          <a:lnTo>
                            <a:pt x="9" y="22"/>
                          </a:lnTo>
                          <a:lnTo>
                            <a:pt x="7" y="19"/>
                          </a:lnTo>
                          <a:lnTo>
                            <a:pt x="7" y="19"/>
                          </a:lnTo>
                          <a:lnTo>
                            <a:pt x="7" y="19"/>
                          </a:lnTo>
                          <a:lnTo>
                            <a:pt x="7" y="19"/>
                          </a:lnTo>
                          <a:lnTo>
                            <a:pt x="0" y="24"/>
                          </a:lnTo>
                          <a:lnTo>
                            <a:pt x="0" y="24"/>
                          </a:lnTo>
                          <a:lnTo>
                            <a:pt x="0" y="24"/>
                          </a:lnTo>
                          <a:lnTo>
                            <a:pt x="0" y="24"/>
                          </a:lnTo>
                          <a:close/>
                        </a:path>
                      </a:pathLst>
                    </a:custGeom>
                    <a:solidFill>
                      <a:schemeClr val="accent2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34" name="Freeform 1214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4504" y="2318"/>
                      <a:ext cx="11" cy="24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0"/>
                        </a:cxn>
                        <a:cxn ang="0">
                          <a:pos x="0" y="10"/>
                        </a:cxn>
                        <a:cxn ang="0">
                          <a:pos x="0" y="10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3" y="3"/>
                        </a:cxn>
                        <a:cxn ang="0">
                          <a:pos x="3" y="3"/>
                        </a:cxn>
                        <a:cxn ang="0">
                          <a:pos x="8" y="0"/>
                        </a:cxn>
                        <a:cxn ang="0">
                          <a:pos x="8" y="0"/>
                        </a:cxn>
                        <a:cxn ang="0">
                          <a:pos x="10" y="0"/>
                        </a:cxn>
                        <a:cxn ang="0">
                          <a:pos x="10" y="0"/>
                        </a:cxn>
                        <a:cxn ang="0">
                          <a:pos x="10" y="0"/>
                        </a:cxn>
                        <a:cxn ang="0">
                          <a:pos x="10" y="0"/>
                        </a:cxn>
                        <a:cxn ang="0">
                          <a:pos x="10" y="3"/>
                        </a:cxn>
                        <a:cxn ang="0">
                          <a:pos x="10" y="3"/>
                        </a:cxn>
                        <a:cxn ang="0">
                          <a:pos x="10" y="3"/>
                        </a:cxn>
                        <a:cxn ang="0">
                          <a:pos x="10" y="3"/>
                        </a:cxn>
                        <a:cxn ang="0">
                          <a:pos x="10" y="3"/>
                        </a:cxn>
                        <a:cxn ang="0">
                          <a:pos x="10" y="3"/>
                        </a:cxn>
                        <a:cxn ang="0">
                          <a:pos x="10" y="5"/>
                        </a:cxn>
                        <a:cxn ang="0">
                          <a:pos x="10" y="5"/>
                        </a:cxn>
                        <a:cxn ang="0">
                          <a:pos x="10" y="7"/>
                        </a:cxn>
                        <a:cxn ang="0">
                          <a:pos x="10" y="7"/>
                        </a:cxn>
                        <a:cxn ang="0">
                          <a:pos x="10" y="7"/>
                        </a:cxn>
                        <a:cxn ang="0">
                          <a:pos x="10" y="7"/>
                        </a:cxn>
                        <a:cxn ang="0">
                          <a:pos x="10" y="12"/>
                        </a:cxn>
                        <a:cxn ang="0">
                          <a:pos x="10" y="12"/>
                        </a:cxn>
                        <a:cxn ang="0">
                          <a:pos x="8" y="19"/>
                        </a:cxn>
                        <a:cxn ang="0">
                          <a:pos x="8" y="19"/>
                        </a:cxn>
                        <a:cxn ang="0">
                          <a:pos x="8" y="21"/>
                        </a:cxn>
                        <a:cxn ang="0">
                          <a:pos x="8" y="21"/>
                        </a:cxn>
                        <a:cxn ang="0">
                          <a:pos x="0" y="10"/>
                        </a:cxn>
                        <a:cxn ang="0">
                          <a:pos x="0" y="10"/>
                        </a:cxn>
                        <a:cxn ang="0">
                          <a:pos x="0" y="10"/>
                        </a:cxn>
                        <a:cxn ang="0">
                          <a:pos x="0" y="10"/>
                        </a:cxn>
                      </a:cxnLst>
                      <a:rect l="0" t="0" r="r" b="b"/>
                      <a:pathLst>
                        <a:path w="10" h="21">
                          <a:moveTo>
                            <a:pt x="0" y="10"/>
                          </a:moveTo>
                          <a:lnTo>
                            <a:pt x="0" y="10"/>
                          </a:lnTo>
                          <a:lnTo>
                            <a:pt x="0" y="10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3" y="3"/>
                          </a:lnTo>
                          <a:lnTo>
                            <a:pt x="3" y="3"/>
                          </a:lnTo>
                          <a:lnTo>
                            <a:pt x="8" y="0"/>
                          </a:lnTo>
                          <a:lnTo>
                            <a:pt x="8" y="0"/>
                          </a:lnTo>
                          <a:lnTo>
                            <a:pt x="10" y="0"/>
                          </a:lnTo>
                          <a:lnTo>
                            <a:pt x="10" y="0"/>
                          </a:lnTo>
                          <a:lnTo>
                            <a:pt x="10" y="0"/>
                          </a:lnTo>
                          <a:lnTo>
                            <a:pt x="10" y="0"/>
                          </a:lnTo>
                          <a:lnTo>
                            <a:pt x="10" y="3"/>
                          </a:lnTo>
                          <a:lnTo>
                            <a:pt x="10" y="3"/>
                          </a:lnTo>
                          <a:lnTo>
                            <a:pt x="10" y="3"/>
                          </a:lnTo>
                          <a:lnTo>
                            <a:pt x="10" y="3"/>
                          </a:lnTo>
                          <a:lnTo>
                            <a:pt x="10" y="3"/>
                          </a:lnTo>
                          <a:lnTo>
                            <a:pt x="10" y="3"/>
                          </a:lnTo>
                          <a:lnTo>
                            <a:pt x="10" y="5"/>
                          </a:lnTo>
                          <a:lnTo>
                            <a:pt x="10" y="5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10" y="12"/>
                          </a:lnTo>
                          <a:lnTo>
                            <a:pt x="10" y="12"/>
                          </a:lnTo>
                          <a:lnTo>
                            <a:pt x="8" y="19"/>
                          </a:lnTo>
                          <a:lnTo>
                            <a:pt x="8" y="19"/>
                          </a:lnTo>
                          <a:lnTo>
                            <a:pt x="8" y="21"/>
                          </a:lnTo>
                          <a:lnTo>
                            <a:pt x="8" y="21"/>
                          </a:lnTo>
                          <a:lnTo>
                            <a:pt x="0" y="10"/>
                          </a:lnTo>
                          <a:lnTo>
                            <a:pt x="0" y="10"/>
                          </a:lnTo>
                          <a:lnTo>
                            <a:pt x="0" y="10"/>
                          </a:lnTo>
                          <a:lnTo>
                            <a:pt x="0" y="10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35" name="Freeform 1215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4494" y="2329"/>
                      <a:ext cx="19" cy="13"/>
                    </a:xfrm>
                    <a:custGeom>
                      <a:avLst/>
                      <a:gdLst/>
                      <a:ahLst/>
                      <a:cxnLst>
                        <a:cxn ang="0">
                          <a:pos x="9" y="0"/>
                        </a:cxn>
                        <a:cxn ang="0">
                          <a:pos x="17" y="11"/>
                        </a:cxn>
                        <a:cxn ang="0">
                          <a:pos x="17" y="11"/>
                        </a:cxn>
                        <a:cxn ang="0">
                          <a:pos x="17" y="11"/>
                        </a:cxn>
                        <a:cxn ang="0">
                          <a:pos x="17" y="11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9" y="0"/>
                        </a:cxn>
                        <a:cxn ang="0">
                          <a:pos x="9" y="0"/>
                        </a:cxn>
                        <a:cxn ang="0">
                          <a:pos x="9" y="0"/>
                        </a:cxn>
                        <a:cxn ang="0">
                          <a:pos x="9" y="0"/>
                        </a:cxn>
                        <a:cxn ang="0">
                          <a:pos x="9" y="0"/>
                        </a:cxn>
                        <a:cxn ang="0">
                          <a:pos x="9" y="0"/>
                        </a:cxn>
                      </a:cxnLst>
                      <a:rect l="0" t="0" r="r" b="b"/>
                      <a:pathLst>
                        <a:path w="17" h="11">
                          <a:moveTo>
                            <a:pt x="9" y="0"/>
                          </a:moveTo>
                          <a:lnTo>
                            <a:pt x="17" y="11"/>
                          </a:lnTo>
                          <a:lnTo>
                            <a:pt x="17" y="11"/>
                          </a:lnTo>
                          <a:lnTo>
                            <a:pt x="17" y="11"/>
                          </a:lnTo>
                          <a:lnTo>
                            <a:pt x="17" y="11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9" y="0"/>
                          </a:lnTo>
                          <a:lnTo>
                            <a:pt x="9" y="0"/>
                          </a:lnTo>
                          <a:lnTo>
                            <a:pt x="9" y="0"/>
                          </a:lnTo>
                          <a:lnTo>
                            <a:pt x="9" y="0"/>
                          </a:lnTo>
                          <a:lnTo>
                            <a:pt x="9" y="0"/>
                          </a:lnTo>
                          <a:lnTo>
                            <a:pt x="9" y="0"/>
                          </a:lnTo>
                          <a:close/>
                        </a:path>
                      </a:pathLst>
                    </a:custGeom>
                    <a:solidFill>
                      <a:schemeClr val="accent2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36" name="Freeform 1216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4539" y="2361"/>
                      <a:ext cx="14" cy="8"/>
                    </a:xfrm>
                    <a:custGeom>
                      <a:avLst/>
                      <a:gdLst/>
                      <a:ahLst/>
                      <a:cxnLst>
                        <a:cxn ang="0">
                          <a:pos x="5" y="7"/>
                        </a:cxn>
                        <a:cxn ang="0">
                          <a:pos x="3" y="7"/>
                        </a:cxn>
                        <a:cxn ang="0">
                          <a:pos x="3" y="7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0" y="0"/>
                        </a:cxn>
                        <a:cxn ang="0">
                          <a:pos x="3" y="0"/>
                        </a:cxn>
                        <a:cxn ang="0">
                          <a:pos x="3" y="0"/>
                        </a:cxn>
                        <a:cxn ang="0">
                          <a:pos x="3" y="0"/>
                        </a:cxn>
                        <a:cxn ang="0">
                          <a:pos x="3" y="0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10" y="0"/>
                        </a:cxn>
                        <a:cxn ang="0">
                          <a:pos x="10" y="0"/>
                        </a:cxn>
                        <a:cxn ang="0">
                          <a:pos x="12" y="2"/>
                        </a:cxn>
                        <a:cxn ang="0">
                          <a:pos x="12" y="2"/>
                        </a:cxn>
                        <a:cxn ang="0">
                          <a:pos x="12" y="2"/>
                        </a:cxn>
                        <a:cxn ang="0">
                          <a:pos x="12" y="2"/>
                        </a:cxn>
                        <a:cxn ang="0">
                          <a:pos x="12" y="5"/>
                        </a:cxn>
                        <a:cxn ang="0">
                          <a:pos x="12" y="5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</a:cxnLst>
                      <a:rect l="0" t="0" r="r" b="b"/>
                      <a:pathLst>
                        <a:path w="12" h="7">
                          <a:moveTo>
                            <a:pt x="5" y="7"/>
                          </a:moveTo>
                          <a:lnTo>
                            <a:pt x="3" y="7"/>
                          </a:lnTo>
                          <a:lnTo>
                            <a:pt x="3" y="7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0" y="0"/>
                          </a:lnTo>
                          <a:lnTo>
                            <a:pt x="3" y="0"/>
                          </a:lnTo>
                          <a:lnTo>
                            <a:pt x="3" y="0"/>
                          </a:lnTo>
                          <a:lnTo>
                            <a:pt x="3" y="0"/>
                          </a:lnTo>
                          <a:lnTo>
                            <a:pt x="3" y="0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10" y="0"/>
                          </a:lnTo>
                          <a:lnTo>
                            <a:pt x="10" y="0"/>
                          </a:lnTo>
                          <a:lnTo>
                            <a:pt x="12" y="2"/>
                          </a:lnTo>
                          <a:lnTo>
                            <a:pt x="12" y="2"/>
                          </a:lnTo>
                          <a:lnTo>
                            <a:pt x="12" y="2"/>
                          </a:lnTo>
                          <a:lnTo>
                            <a:pt x="12" y="2"/>
                          </a:lnTo>
                          <a:lnTo>
                            <a:pt x="12" y="5"/>
                          </a:lnTo>
                          <a:lnTo>
                            <a:pt x="12" y="5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405" name="Freeform 1217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6794500" y="3008313"/>
                    <a:ext cx="39687" cy="55563"/>
                  </a:xfrm>
                  <a:custGeom>
                    <a:avLst/>
                    <a:gdLst/>
                    <a:ahLst/>
                    <a:cxnLst>
                      <a:cxn ang="0">
                        <a:pos x="16" y="33"/>
                      </a:cxn>
                      <a:cxn ang="0">
                        <a:pos x="7" y="23"/>
                      </a:cxn>
                      <a:cxn ang="0">
                        <a:pos x="7" y="23"/>
                      </a:cxn>
                      <a:cxn ang="0">
                        <a:pos x="5" y="19"/>
                      </a:cxn>
                      <a:cxn ang="0">
                        <a:pos x="5" y="19"/>
                      </a:cxn>
                      <a:cxn ang="0">
                        <a:pos x="0" y="4"/>
                      </a:cxn>
                      <a:cxn ang="0">
                        <a:pos x="0" y="4"/>
                      </a:cxn>
                      <a:cxn ang="0">
                        <a:pos x="0" y="4"/>
                      </a:cxn>
                      <a:cxn ang="0">
                        <a:pos x="0" y="4"/>
                      </a:cxn>
                      <a:cxn ang="0">
                        <a:pos x="2" y="2"/>
                      </a:cxn>
                      <a:cxn ang="0">
                        <a:pos x="2" y="2"/>
                      </a:cxn>
                      <a:cxn ang="0">
                        <a:pos x="2" y="2"/>
                      </a:cxn>
                      <a:cxn ang="0">
                        <a:pos x="2" y="2"/>
                      </a:cxn>
                      <a:cxn ang="0">
                        <a:pos x="5" y="2"/>
                      </a:cxn>
                      <a:cxn ang="0">
                        <a:pos x="5" y="2"/>
                      </a:cxn>
                      <a:cxn ang="0">
                        <a:pos x="5" y="0"/>
                      </a:cxn>
                      <a:cxn ang="0">
                        <a:pos x="5" y="0"/>
                      </a:cxn>
                      <a:cxn ang="0">
                        <a:pos x="7" y="0"/>
                      </a:cxn>
                      <a:cxn ang="0">
                        <a:pos x="7" y="0"/>
                      </a:cxn>
                      <a:cxn ang="0">
                        <a:pos x="14" y="4"/>
                      </a:cxn>
                      <a:cxn ang="0">
                        <a:pos x="14" y="4"/>
                      </a:cxn>
                      <a:cxn ang="0">
                        <a:pos x="19" y="9"/>
                      </a:cxn>
                      <a:cxn ang="0">
                        <a:pos x="19" y="9"/>
                      </a:cxn>
                      <a:cxn ang="0">
                        <a:pos x="21" y="14"/>
                      </a:cxn>
                      <a:cxn ang="0">
                        <a:pos x="21" y="14"/>
                      </a:cxn>
                      <a:cxn ang="0">
                        <a:pos x="21" y="16"/>
                      </a:cxn>
                      <a:cxn ang="0">
                        <a:pos x="21" y="16"/>
                      </a:cxn>
                      <a:cxn ang="0">
                        <a:pos x="24" y="23"/>
                      </a:cxn>
                      <a:cxn ang="0">
                        <a:pos x="24" y="23"/>
                      </a:cxn>
                      <a:cxn ang="0">
                        <a:pos x="24" y="33"/>
                      </a:cxn>
                      <a:cxn ang="0">
                        <a:pos x="24" y="33"/>
                      </a:cxn>
                      <a:cxn ang="0">
                        <a:pos x="21" y="33"/>
                      </a:cxn>
                      <a:cxn ang="0">
                        <a:pos x="21" y="33"/>
                      </a:cxn>
                      <a:cxn ang="0">
                        <a:pos x="21" y="33"/>
                      </a:cxn>
                      <a:cxn ang="0">
                        <a:pos x="21" y="33"/>
                      </a:cxn>
                      <a:cxn ang="0">
                        <a:pos x="16" y="33"/>
                      </a:cxn>
                      <a:cxn ang="0">
                        <a:pos x="16" y="33"/>
                      </a:cxn>
                      <a:cxn ang="0">
                        <a:pos x="16" y="33"/>
                      </a:cxn>
                      <a:cxn ang="0">
                        <a:pos x="16" y="33"/>
                      </a:cxn>
                    </a:cxnLst>
                    <a:rect l="0" t="0" r="r" b="b"/>
                    <a:pathLst>
                      <a:path w="24" h="33">
                        <a:moveTo>
                          <a:pt x="16" y="33"/>
                        </a:moveTo>
                        <a:lnTo>
                          <a:pt x="7" y="23"/>
                        </a:lnTo>
                        <a:lnTo>
                          <a:pt x="7" y="23"/>
                        </a:lnTo>
                        <a:lnTo>
                          <a:pt x="5" y="19"/>
                        </a:lnTo>
                        <a:lnTo>
                          <a:pt x="5" y="19"/>
                        </a:lnTo>
                        <a:lnTo>
                          <a:pt x="0" y="4"/>
                        </a:lnTo>
                        <a:lnTo>
                          <a:pt x="0" y="4"/>
                        </a:lnTo>
                        <a:lnTo>
                          <a:pt x="0" y="4"/>
                        </a:lnTo>
                        <a:lnTo>
                          <a:pt x="0" y="4"/>
                        </a:lnTo>
                        <a:lnTo>
                          <a:pt x="2" y="2"/>
                        </a:lnTo>
                        <a:lnTo>
                          <a:pt x="2" y="2"/>
                        </a:lnTo>
                        <a:lnTo>
                          <a:pt x="2" y="2"/>
                        </a:lnTo>
                        <a:lnTo>
                          <a:pt x="2" y="2"/>
                        </a:lnTo>
                        <a:lnTo>
                          <a:pt x="5" y="2"/>
                        </a:lnTo>
                        <a:lnTo>
                          <a:pt x="5" y="2"/>
                        </a:lnTo>
                        <a:lnTo>
                          <a:pt x="5" y="0"/>
                        </a:lnTo>
                        <a:lnTo>
                          <a:pt x="5" y="0"/>
                        </a:lnTo>
                        <a:lnTo>
                          <a:pt x="7" y="0"/>
                        </a:lnTo>
                        <a:lnTo>
                          <a:pt x="7" y="0"/>
                        </a:lnTo>
                        <a:lnTo>
                          <a:pt x="14" y="4"/>
                        </a:lnTo>
                        <a:lnTo>
                          <a:pt x="14" y="4"/>
                        </a:lnTo>
                        <a:lnTo>
                          <a:pt x="19" y="9"/>
                        </a:lnTo>
                        <a:lnTo>
                          <a:pt x="19" y="9"/>
                        </a:lnTo>
                        <a:lnTo>
                          <a:pt x="21" y="14"/>
                        </a:lnTo>
                        <a:lnTo>
                          <a:pt x="21" y="14"/>
                        </a:lnTo>
                        <a:lnTo>
                          <a:pt x="21" y="16"/>
                        </a:lnTo>
                        <a:lnTo>
                          <a:pt x="21" y="16"/>
                        </a:lnTo>
                        <a:lnTo>
                          <a:pt x="24" y="23"/>
                        </a:lnTo>
                        <a:lnTo>
                          <a:pt x="24" y="23"/>
                        </a:lnTo>
                        <a:lnTo>
                          <a:pt x="24" y="33"/>
                        </a:lnTo>
                        <a:lnTo>
                          <a:pt x="24" y="33"/>
                        </a:lnTo>
                        <a:lnTo>
                          <a:pt x="21" y="33"/>
                        </a:lnTo>
                        <a:lnTo>
                          <a:pt x="21" y="33"/>
                        </a:lnTo>
                        <a:lnTo>
                          <a:pt x="21" y="33"/>
                        </a:lnTo>
                        <a:lnTo>
                          <a:pt x="21" y="33"/>
                        </a:lnTo>
                        <a:lnTo>
                          <a:pt x="16" y="33"/>
                        </a:lnTo>
                        <a:lnTo>
                          <a:pt x="16" y="33"/>
                        </a:lnTo>
                        <a:lnTo>
                          <a:pt x="16" y="33"/>
                        </a:lnTo>
                        <a:lnTo>
                          <a:pt x="16" y="33"/>
                        </a:lnTo>
                        <a:close/>
                      </a:path>
                    </a:pathLst>
                  </a:custGeom>
                  <a:solidFill>
                    <a:srgbClr val="92D050"/>
                  </a:solidFill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06" name="Freeform 1218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6554788" y="3101975"/>
                    <a:ext cx="60325" cy="69850"/>
                  </a:xfrm>
                  <a:custGeom>
                    <a:avLst/>
                    <a:gdLst/>
                    <a:ahLst/>
                    <a:cxnLst>
                      <a:cxn ang="0">
                        <a:pos x="31" y="38"/>
                      </a:cxn>
                      <a:cxn ang="0">
                        <a:pos x="31" y="36"/>
                      </a:cxn>
                      <a:cxn ang="0">
                        <a:pos x="31" y="31"/>
                      </a:cxn>
                      <a:cxn ang="0">
                        <a:pos x="28" y="31"/>
                      </a:cxn>
                      <a:cxn ang="0">
                        <a:pos x="28" y="29"/>
                      </a:cxn>
                      <a:cxn ang="0">
                        <a:pos x="21" y="26"/>
                      </a:cxn>
                      <a:cxn ang="0">
                        <a:pos x="21" y="26"/>
                      </a:cxn>
                      <a:cxn ang="0">
                        <a:pos x="19" y="26"/>
                      </a:cxn>
                      <a:cxn ang="0">
                        <a:pos x="14" y="24"/>
                      </a:cxn>
                      <a:cxn ang="0">
                        <a:pos x="12" y="22"/>
                      </a:cxn>
                      <a:cxn ang="0">
                        <a:pos x="10" y="19"/>
                      </a:cxn>
                      <a:cxn ang="0">
                        <a:pos x="7" y="17"/>
                      </a:cxn>
                      <a:cxn ang="0">
                        <a:pos x="5" y="15"/>
                      </a:cxn>
                      <a:cxn ang="0">
                        <a:pos x="0" y="10"/>
                      </a:cxn>
                      <a:cxn ang="0">
                        <a:pos x="0" y="10"/>
                      </a:cxn>
                      <a:cxn ang="0">
                        <a:pos x="0" y="5"/>
                      </a:cxn>
                      <a:cxn ang="0">
                        <a:pos x="3" y="3"/>
                      </a:cxn>
                      <a:cxn ang="0">
                        <a:pos x="5" y="3"/>
                      </a:cxn>
                      <a:cxn ang="0">
                        <a:pos x="7" y="0"/>
                      </a:cxn>
                      <a:cxn ang="0">
                        <a:pos x="10" y="0"/>
                      </a:cxn>
                      <a:cxn ang="0">
                        <a:pos x="14" y="5"/>
                      </a:cxn>
                      <a:cxn ang="0">
                        <a:pos x="17" y="8"/>
                      </a:cxn>
                      <a:cxn ang="0">
                        <a:pos x="21" y="10"/>
                      </a:cxn>
                      <a:cxn ang="0">
                        <a:pos x="24" y="17"/>
                      </a:cxn>
                      <a:cxn ang="0">
                        <a:pos x="26" y="22"/>
                      </a:cxn>
                      <a:cxn ang="0">
                        <a:pos x="26" y="24"/>
                      </a:cxn>
                      <a:cxn ang="0">
                        <a:pos x="26" y="26"/>
                      </a:cxn>
                      <a:cxn ang="0">
                        <a:pos x="28" y="26"/>
                      </a:cxn>
                      <a:cxn ang="0">
                        <a:pos x="33" y="34"/>
                      </a:cxn>
                      <a:cxn ang="0">
                        <a:pos x="33" y="31"/>
                      </a:cxn>
                      <a:cxn ang="0">
                        <a:pos x="36" y="34"/>
                      </a:cxn>
                      <a:cxn ang="0">
                        <a:pos x="36" y="34"/>
                      </a:cxn>
                      <a:cxn ang="0">
                        <a:pos x="36" y="36"/>
                      </a:cxn>
                      <a:cxn ang="0">
                        <a:pos x="36" y="38"/>
                      </a:cxn>
                      <a:cxn ang="0">
                        <a:pos x="31" y="41"/>
                      </a:cxn>
                      <a:cxn ang="0">
                        <a:pos x="31" y="41"/>
                      </a:cxn>
                    </a:cxnLst>
                    <a:rect l="0" t="0" r="r" b="b"/>
                    <a:pathLst>
                      <a:path w="36" h="41">
                        <a:moveTo>
                          <a:pt x="31" y="41"/>
                        </a:moveTo>
                        <a:lnTo>
                          <a:pt x="31" y="38"/>
                        </a:lnTo>
                        <a:lnTo>
                          <a:pt x="31" y="38"/>
                        </a:lnTo>
                        <a:lnTo>
                          <a:pt x="31" y="36"/>
                        </a:lnTo>
                        <a:lnTo>
                          <a:pt x="31" y="36"/>
                        </a:lnTo>
                        <a:lnTo>
                          <a:pt x="31" y="31"/>
                        </a:lnTo>
                        <a:lnTo>
                          <a:pt x="31" y="31"/>
                        </a:lnTo>
                        <a:lnTo>
                          <a:pt x="28" y="31"/>
                        </a:lnTo>
                        <a:lnTo>
                          <a:pt x="28" y="31"/>
                        </a:lnTo>
                        <a:lnTo>
                          <a:pt x="28" y="29"/>
                        </a:lnTo>
                        <a:lnTo>
                          <a:pt x="28" y="29"/>
                        </a:lnTo>
                        <a:lnTo>
                          <a:pt x="21" y="26"/>
                        </a:lnTo>
                        <a:lnTo>
                          <a:pt x="21" y="26"/>
                        </a:lnTo>
                        <a:lnTo>
                          <a:pt x="21" y="26"/>
                        </a:lnTo>
                        <a:lnTo>
                          <a:pt x="21" y="26"/>
                        </a:lnTo>
                        <a:lnTo>
                          <a:pt x="19" y="26"/>
                        </a:lnTo>
                        <a:lnTo>
                          <a:pt x="19" y="26"/>
                        </a:lnTo>
                        <a:lnTo>
                          <a:pt x="14" y="24"/>
                        </a:lnTo>
                        <a:lnTo>
                          <a:pt x="14" y="24"/>
                        </a:lnTo>
                        <a:lnTo>
                          <a:pt x="12" y="22"/>
                        </a:lnTo>
                        <a:lnTo>
                          <a:pt x="12" y="22"/>
                        </a:lnTo>
                        <a:lnTo>
                          <a:pt x="10" y="19"/>
                        </a:lnTo>
                        <a:lnTo>
                          <a:pt x="10" y="19"/>
                        </a:lnTo>
                        <a:lnTo>
                          <a:pt x="7" y="17"/>
                        </a:lnTo>
                        <a:lnTo>
                          <a:pt x="7" y="17"/>
                        </a:lnTo>
                        <a:lnTo>
                          <a:pt x="5" y="15"/>
                        </a:lnTo>
                        <a:lnTo>
                          <a:pt x="5" y="15"/>
                        </a:lnTo>
                        <a:lnTo>
                          <a:pt x="0" y="10"/>
                        </a:lnTo>
                        <a:lnTo>
                          <a:pt x="0" y="10"/>
                        </a:lnTo>
                        <a:lnTo>
                          <a:pt x="0" y="10"/>
                        </a:lnTo>
                        <a:lnTo>
                          <a:pt x="0" y="10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3" y="3"/>
                        </a:lnTo>
                        <a:lnTo>
                          <a:pt x="3" y="3"/>
                        </a:lnTo>
                        <a:lnTo>
                          <a:pt x="5" y="3"/>
                        </a:lnTo>
                        <a:lnTo>
                          <a:pt x="5" y="3"/>
                        </a:lnTo>
                        <a:lnTo>
                          <a:pt x="7" y="0"/>
                        </a:lnTo>
                        <a:lnTo>
                          <a:pt x="7" y="0"/>
                        </a:lnTo>
                        <a:lnTo>
                          <a:pt x="10" y="0"/>
                        </a:lnTo>
                        <a:lnTo>
                          <a:pt x="10" y="0"/>
                        </a:lnTo>
                        <a:lnTo>
                          <a:pt x="14" y="5"/>
                        </a:lnTo>
                        <a:lnTo>
                          <a:pt x="14" y="5"/>
                        </a:lnTo>
                        <a:lnTo>
                          <a:pt x="17" y="8"/>
                        </a:lnTo>
                        <a:lnTo>
                          <a:pt x="17" y="8"/>
                        </a:lnTo>
                        <a:lnTo>
                          <a:pt x="21" y="10"/>
                        </a:lnTo>
                        <a:lnTo>
                          <a:pt x="21" y="10"/>
                        </a:lnTo>
                        <a:lnTo>
                          <a:pt x="24" y="17"/>
                        </a:lnTo>
                        <a:lnTo>
                          <a:pt x="24" y="17"/>
                        </a:lnTo>
                        <a:lnTo>
                          <a:pt x="26" y="22"/>
                        </a:lnTo>
                        <a:lnTo>
                          <a:pt x="26" y="22"/>
                        </a:lnTo>
                        <a:lnTo>
                          <a:pt x="26" y="24"/>
                        </a:lnTo>
                        <a:lnTo>
                          <a:pt x="26" y="24"/>
                        </a:lnTo>
                        <a:lnTo>
                          <a:pt x="26" y="26"/>
                        </a:lnTo>
                        <a:lnTo>
                          <a:pt x="26" y="26"/>
                        </a:lnTo>
                        <a:lnTo>
                          <a:pt x="28" y="26"/>
                        </a:lnTo>
                        <a:lnTo>
                          <a:pt x="28" y="26"/>
                        </a:lnTo>
                        <a:lnTo>
                          <a:pt x="33" y="34"/>
                        </a:lnTo>
                        <a:lnTo>
                          <a:pt x="33" y="34"/>
                        </a:lnTo>
                        <a:lnTo>
                          <a:pt x="33" y="31"/>
                        </a:lnTo>
                        <a:lnTo>
                          <a:pt x="33" y="31"/>
                        </a:lnTo>
                        <a:lnTo>
                          <a:pt x="36" y="34"/>
                        </a:lnTo>
                        <a:lnTo>
                          <a:pt x="36" y="34"/>
                        </a:lnTo>
                        <a:lnTo>
                          <a:pt x="36" y="34"/>
                        </a:lnTo>
                        <a:lnTo>
                          <a:pt x="36" y="34"/>
                        </a:lnTo>
                        <a:lnTo>
                          <a:pt x="36" y="36"/>
                        </a:lnTo>
                        <a:lnTo>
                          <a:pt x="36" y="36"/>
                        </a:lnTo>
                        <a:lnTo>
                          <a:pt x="36" y="38"/>
                        </a:lnTo>
                        <a:lnTo>
                          <a:pt x="36" y="38"/>
                        </a:lnTo>
                        <a:lnTo>
                          <a:pt x="31" y="41"/>
                        </a:lnTo>
                        <a:lnTo>
                          <a:pt x="31" y="41"/>
                        </a:lnTo>
                        <a:lnTo>
                          <a:pt x="31" y="41"/>
                        </a:lnTo>
                        <a:lnTo>
                          <a:pt x="31" y="41"/>
                        </a:lnTo>
                        <a:close/>
                      </a:path>
                    </a:pathLst>
                  </a:custGeom>
                  <a:solidFill>
                    <a:srgbClr val="660066"/>
                  </a:solidFill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07" name="Freeform 1219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6615113" y="3171825"/>
                    <a:ext cx="19050" cy="33338"/>
                  </a:xfrm>
                  <a:custGeom>
                    <a:avLst/>
                    <a:gdLst/>
                    <a:ahLst/>
                    <a:cxnLst>
                      <a:cxn ang="0">
                        <a:pos x="2" y="21"/>
                      </a:cxn>
                      <a:cxn ang="0">
                        <a:pos x="2" y="21"/>
                      </a:cxn>
                      <a:cxn ang="0">
                        <a:pos x="2" y="21"/>
                      </a:cxn>
                      <a:cxn ang="0">
                        <a:pos x="0" y="21"/>
                      </a:cxn>
                      <a:cxn ang="0">
                        <a:pos x="0" y="21"/>
                      </a:cxn>
                      <a:cxn ang="0">
                        <a:pos x="0" y="16"/>
                      </a:cxn>
                      <a:cxn ang="0">
                        <a:pos x="0" y="16"/>
                      </a:cxn>
                      <a:cxn ang="0">
                        <a:pos x="0" y="14"/>
                      </a:cxn>
                      <a:cxn ang="0">
                        <a:pos x="0" y="14"/>
                      </a:cxn>
                      <a:cxn ang="0">
                        <a:pos x="0" y="7"/>
                      </a:cxn>
                      <a:cxn ang="0">
                        <a:pos x="0" y="7"/>
                      </a:cxn>
                      <a:cxn ang="0">
                        <a:pos x="2" y="0"/>
                      </a:cxn>
                      <a:cxn ang="0">
                        <a:pos x="2" y="0"/>
                      </a:cxn>
                      <a:cxn ang="0">
                        <a:pos x="4" y="0"/>
                      </a:cxn>
                      <a:cxn ang="0">
                        <a:pos x="4" y="0"/>
                      </a:cxn>
                      <a:cxn ang="0">
                        <a:pos x="7" y="0"/>
                      </a:cxn>
                      <a:cxn ang="0">
                        <a:pos x="7" y="0"/>
                      </a:cxn>
                      <a:cxn ang="0">
                        <a:pos x="9" y="2"/>
                      </a:cxn>
                      <a:cxn ang="0">
                        <a:pos x="9" y="2"/>
                      </a:cxn>
                      <a:cxn ang="0">
                        <a:pos x="11" y="4"/>
                      </a:cxn>
                      <a:cxn ang="0">
                        <a:pos x="11" y="4"/>
                      </a:cxn>
                      <a:cxn ang="0">
                        <a:pos x="11" y="9"/>
                      </a:cxn>
                      <a:cxn ang="0">
                        <a:pos x="11" y="9"/>
                      </a:cxn>
                      <a:cxn ang="0">
                        <a:pos x="11" y="14"/>
                      </a:cxn>
                      <a:cxn ang="0">
                        <a:pos x="11" y="14"/>
                      </a:cxn>
                      <a:cxn ang="0">
                        <a:pos x="11" y="16"/>
                      </a:cxn>
                      <a:cxn ang="0">
                        <a:pos x="11" y="16"/>
                      </a:cxn>
                      <a:cxn ang="0">
                        <a:pos x="11" y="19"/>
                      </a:cxn>
                      <a:cxn ang="0">
                        <a:pos x="11" y="19"/>
                      </a:cxn>
                      <a:cxn ang="0">
                        <a:pos x="9" y="21"/>
                      </a:cxn>
                      <a:cxn ang="0">
                        <a:pos x="9" y="21"/>
                      </a:cxn>
                      <a:cxn ang="0">
                        <a:pos x="7" y="21"/>
                      </a:cxn>
                      <a:cxn ang="0">
                        <a:pos x="7" y="21"/>
                      </a:cxn>
                      <a:cxn ang="0">
                        <a:pos x="4" y="21"/>
                      </a:cxn>
                      <a:cxn ang="0">
                        <a:pos x="4" y="21"/>
                      </a:cxn>
                      <a:cxn ang="0">
                        <a:pos x="4" y="21"/>
                      </a:cxn>
                      <a:cxn ang="0">
                        <a:pos x="4" y="21"/>
                      </a:cxn>
                      <a:cxn ang="0">
                        <a:pos x="2" y="21"/>
                      </a:cxn>
                      <a:cxn ang="0">
                        <a:pos x="2" y="21"/>
                      </a:cxn>
                      <a:cxn ang="0">
                        <a:pos x="2" y="21"/>
                      </a:cxn>
                      <a:cxn ang="0">
                        <a:pos x="2" y="21"/>
                      </a:cxn>
                    </a:cxnLst>
                    <a:rect l="0" t="0" r="r" b="b"/>
                    <a:pathLst>
                      <a:path w="11" h="21">
                        <a:moveTo>
                          <a:pt x="2" y="21"/>
                        </a:moveTo>
                        <a:lnTo>
                          <a:pt x="2" y="21"/>
                        </a:lnTo>
                        <a:lnTo>
                          <a:pt x="2" y="21"/>
                        </a:lnTo>
                        <a:lnTo>
                          <a:pt x="0" y="21"/>
                        </a:lnTo>
                        <a:lnTo>
                          <a:pt x="0" y="21"/>
                        </a:lnTo>
                        <a:lnTo>
                          <a:pt x="0" y="16"/>
                        </a:lnTo>
                        <a:lnTo>
                          <a:pt x="0" y="16"/>
                        </a:lnTo>
                        <a:lnTo>
                          <a:pt x="0" y="14"/>
                        </a:lnTo>
                        <a:lnTo>
                          <a:pt x="0" y="14"/>
                        </a:lnTo>
                        <a:lnTo>
                          <a:pt x="0" y="7"/>
                        </a:lnTo>
                        <a:lnTo>
                          <a:pt x="0" y="7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4" y="0"/>
                        </a:lnTo>
                        <a:lnTo>
                          <a:pt x="4" y="0"/>
                        </a:lnTo>
                        <a:lnTo>
                          <a:pt x="7" y="0"/>
                        </a:lnTo>
                        <a:lnTo>
                          <a:pt x="7" y="0"/>
                        </a:lnTo>
                        <a:lnTo>
                          <a:pt x="9" y="2"/>
                        </a:lnTo>
                        <a:lnTo>
                          <a:pt x="9" y="2"/>
                        </a:lnTo>
                        <a:lnTo>
                          <a:pt x="11" y="4"/>
                        </a:lnTo>
                        <a:lnTo>
                          <a:pt x="11" y="4"/>
                        </a:lnTo>
                        <a:lnTo>
                          <a:pt x="11" y="9"/>
                        </a:lnTo>
                        <a:lnTo>
                          <a:pt x="11" y="9"/>
                        </a:lnTo>
                        <a:lnTo>
                          <a:pt x="11" y="14"/>
                        </a:lnTo>
                        <a:lnTo>
                          <a:pt x="11" y="14"/>
                        </a:lnTo>
                        <a:lnTo>
                          <a:pt x="11" y="16"/>
                        </a:lnTo>
                        <a:lnTo>
                          <a:pt x="11" y="16"/>
                        </a:lnTo>
                        <a:lnTo>
                          <a:pt x="11" y="19"/>
                        </a:lnTo>
                        <a:lnTo>
                          <a:pt x="11" y="19"/>
                        </a:lnTo>
                        <a:lnTo>
                          <a:pt x="9" y="21"/>
                        </a:lnTo>
                        <a:lnTo>
                          <a:pt x="9" y="21"/>
                        </a:lnTo>
                        <a:lnTo>
                          <a:pt x="7" y="21"/>
                        </a:lnTo>
                        <a:lnTo>
                          <a:pt x="7" y="21"/>
                        </a:lnTo>
                        <a:lnTo>
                          <a:pt x="4" y="21"/>
                        </a:lnTo>
                        <a:lnTo>
                          <a:pt x="4" y="21"/>
                        </a:lnTo>
                        <a:lnTo>
                          <a:pt x="4" y="21"/>
                        </a:lnTo>
                        <a:lnTo>
                          <a:pt x="4" y="21"/>
                        </a:lnTo>
                        <a:lnTo>
                          <a:pt x="2" y="21"/>
                        </a:lnTo>
                        <a:lnTo>
                          <a:pt x="2" y="21"/>
                        </a:lnTo>
                        <a:lnTo>
                          <a:pt x="2" y="21"/>
                        </a:lnTo>
                        <a:lnTo>
                          <a:pt x="2" y="21"/>
                        </a:lnTo>
                        <a:close/>
                      </a:path>
                    </a:pathLst>
                  </a:custGeom>
                  <a:solidFill>
                    <a:srgbClr val="660066"/>
                  </a:solidFill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08" name="Freeform 1220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6791325" y="3182938"/>
                    <a:ext cx="53975" cy="53975"/>
                  </a:xfrm>
                  <a:custGeom>
                    <a:avLst/>
                    <a:gdLst/>
                    <a:ahLst/>
                    <a:cxnLst>
                      <a:cxn ang="0">
                        <a:pos x="2" y="28"/>
                      </a:cxn>
                      <a:cxn ang="0">
                        <a:pos x="2" y="26"/>
                      </a:cxn>
                      <a:cxn ang="0">
                        <a:pos x="0" y="23"/>
                      </a:cxn>
                      <a:cxn ang="0">
                        <a:pos x="2" y="23"/>
                      </a:cxn>
                      <a:cxn ang="0">
                        <a:pos x="2" y="21"/>
                      </a:cxn>
                      <a:cxn ang="0">
                        <a:pos x="2" y="21"/>
                      </a:cxn>
                      <a:cxn ang="0">
                        <a:pos x="2" y="14"/>
                      </a:cxn>
                      <a:cxn ang="0">
                        <a:pos x="0" y="14"/>
                      </a:cxn>
                      <a:cxn ang="0">
                        <a:pos x="0" y="14"/>
                      </a:cxn>
                      <a:cxn ang="0">
                        <a:pos x="0" y="14"/>
                      </a:cxn>
                      <a:cxn ang="0">
                        <a:pos x="0" y="14"/>
                      </a:cxn>
                      <a:cxn ang="0">
                        <a:pos x="0" y="9"/>
                      </a:cxn>
                      <a:cxn ang="0">
                        <a:pos x="7" y="2"/>
                      </a:cxn>
                      <a:cxn ang="0">
                        <a:pos x="9" y="0"/>
                      </a:cxn>
                      <a:cxn ang="0">
                        <a:pos x="11" y="0"/>
                      </a:cxn>
                      <a:cxn ang="0">
                        <a:pos x="14" y="0"/>
                      </a:cxn>
                      <a:cxn ang="0">
                        <a:pos x="16" y="2"/>
                      </a:cxn>
                      <a:cxn ang="0">
                        <a:pos x="21" y="12"/>
                      </a:cxn>
                      <a:cxn ang="0">
                        <a:pos x="23" y="12"/>
                      </a:cxn>
                      <a:cxn ang="0">
                        <a:pos x="28" y="14"/>
                      </a:cxn>
                      <a:cxn ang="0">
                        <a:pos x="33" y="21"/>
                      </a:cxn>
                      <a:cxn ang="0">
                        <a:pos x="33" y="21"/>
                      </a:cxn>
                      <a:cxn ang="0">
                        <a:pos x="33" y="23"/>
                      </a:cxn>
                      <a:cxn ang="0">
                        <a:pos x="30" y="26"/>
                      </a:cxn>
                      <a:cxn ang="0">
                        <a:pos x="26" y="33"/>
                      </a:cxn>
                      <a:cxn ang="0">
                        <a:pos x="21" y="33"/>
                      </a:cxn>
                      <a:cxn ang="0">
                        <a:pos x="18" y="33"/>
                      </a:cxn>
                      <a:cxn ang="0">
                        <a:pos x="18" y="30"/>
                      </a:cxn>
                      <a:cxn ang="0">
                        <a:pos x="18" y="30"/>
                      </a:cxn>
                      <a:cxn ang="0">
                        <a:pos x="7" y="30"/>
                      </a:cxn>
                      <a:cxn ang="0">
                        <a:pos x="2" y="28"/>
                      </a:cxn>
                      <a:cxn ang="0">
                        <a:pos x="2" y="28"/>
                      </a:cxn>
                    </a:cxnLst>
                    <a:rect l="0" t="0" r="r" b="b"/>
                    <a:pathLst>
                      <a:path w="33" h="33">
                        <a:moveTo>
                          <a:pt x="2" y="28"/>
                        </a:moveTo>
                        <a:lnTo>
                          <a:pt x="2" y="28"/>
                        </a:lnTo>
                        <a:lnTo>
                          <a:pt x="2" y="28"/>
                        </a:lnTo>
                        <a:lnTo>
                          <a:pt x="2" y="26"/>
                        </a:lnTo>
                        <a:lnTo>
                          <a:pt x="2" y="26"/>
                        </a:lnTo>
                        <a:lnTo>
                          <a:pt x="0" y="23"/>
                        </a:lnTo>
                        <a:lnTo>
                          <a:pt x="0" y="23"/>
                        </a:lnTo>
                        <a:lnTo>
                          <a:pt x="2" y="23"/>
                        </a:lnTo>
                        <a:lnTo>
                          <a:pt x="2" y="23"/>
                        </a:lnTo>
                        <a:lnTo>
                          <a:pt x="2" y="21"/>
                        </a:lnTo>
                        <a:lnTo>
                          <a:pt x="2" y="21"/>
                        </a:lnTo>
                        <a:lnTo>
                          <a:pt x="2" y="21"/>
                        </a:lnTo>
                        <a:lnTo>
                          <a:pt x="2" y="21"/>
                        </a:lnTo>
                        <a:lnTo>
                          <a:pt x="2" y="14"/>
                        </a:lnTo>
                        <a:lnTo>
                          <a:pt x="2" y="14"/>
                        </a:lnTo>
                        <a:lnTo>
                          <a:pt x="0" y="14"/>
                        </a:lnTo>
                        <a:lnTo>
                          <a:pt x="0" y="14"/>
                        </a:lnTo>
                        <a:lnTo>
                          <a:pt x="0" y="14"/>
                        </a:lnTo>
                        <a:lnTo>
                          <a:pt x="0" y="14"/>
                        </a:lnTo>
                        <a:lnTo>
                          <a:pt x="0" y="14"/>
                        </a:lnTo>
                        <a:lnTo>
                          <a:pt x="0" y="14"/>
                        </a:lnTo>
                        <a:lnTo>
                          <a:pt x="0" y="14"/>
                        </a:lnTo>
                        <a:lnTo>
                          <a:pt x="0" y="14"/>
                        </a:lnTo>
                        <a:lnTo>
                          <a:pt x="0" y="9"/>
                        </a:lnTo>
                        <a:lnTo>
                          <a:pt x="0" y="9"/>
                        </a:lnTo>
                        <a:lnTo>
                          <a:pt x="7" y="2"/>
                        </a:lnTo>
                        <a:lnTo>
                          <a:pt x="7" y="2"/>
                        </a:lnTo>
                        <a:lnTo>
                          <a:pt x="9" y="0"/>
                        </a:lnTo>
                        <a:lnTo>
                          <a:pt x="9" y="0"/>
                        </a:lnTo>
                        <a:lnTo>
                          <a:pt x="11" y="0"/>
                        </a:lnTo>
                        <a:lnTo>
                          <a:pt x="11" y="0"/>
                        </a:lnTo>
                        <a:lnTo>
                          <a:pt x="14" y="0"/>
                        </a:lnTo>
                        <a:lnTo>
                          <a:pt x="14" y="0"/>
                        </a:lnTo>
                        <a:lnTo>
                          <a:pt x="16" y="2"/>
                        </a:lnTo>
                        <a:lnTo>
                          <a:pt x="16" y="2"/>
                        </a:lnTo>
                        <a:lnTo>
                          <a:pt x="21" y="12"/>
                        </a:lnTo>
                        <a:lnTo>
                          <a:pt x="21" y="12"/>
                        </a:lnTo>
                        <a:lnTo>
                          <a:pt x="23" y="12"/>
                        </a:lnTo>
                        <a:lnTo>
                          <a:pt x="23" y="12"/>
                        </a:lnTo>
                        <a:lnTo>
                          <a:pt x="28" y="14"/>
                        </a:lnTo>
                        <a:lnTo>
                          <a:pt x="28" y="14"/>
                        </a:lnTo>
                        <a:lnTo>
                          <a:pt x="33" y="21"/>
                        </a:lnTo>
                        <a:lnTo>
                          <a:pt x="33" y="21"/>
                        </a:lnTo>
                        <a:lnTo>
                          <a:pt x="33" y="21"/>
                        </a:lnTo>
                        <a:lnTo>
                          <a:pt x="33" y="21"/>
                        </a:lnTo>
                        <a:lnTo>
                          <a:pt x="33" y="23"/>
                        </a:lnTo>
                        <a:lnTo>
                          <a:pt x="33" y="23"/>
                        </a:lnTo>
                        <a:lnTo>
                          <a:pt x="30" y="26"/>
                        </a:lnTo>
                        <a:lnTo>
                          <a:pt x="30" y="26"/>
                        </a:lnTo>
                        <a:lnTo>
                          <a:pt x="26" y="33"/>
                        </a:lnTo>
                        <a:lnTo>
                          <a:pt x="26" y="33"/>
                        </a:lnTo>
                        <a:lnTo>
                          <a:pt x="21" y="33"/>
                        </a:lnTo>
                        <a:lnTo>
                          <a:pt x="21" y="33"/>
                        </a:lnTo>
                        <a:lnTo>
                          <a:pt x="18" y="33"/>
                        </a:lnTo>
                        <a:lnTo>
                          <a:pt x="18" y="33"/>
                        </a:lnTo>
                        <a:lnTo>
                          <a:pt x="18" y="30"/>
                        </a:lnTo>
                        <a:lnTo>
                          <a:pt x="18" y="30"/>
                        </a:lnTo>
                        <a:lnTo>
                          <a:pt x="18" y="30"/>
                        </a:lnTo>
                        <a:lnTo>
                          <a:pt x="18" y="30"/>
                        </a:lnTo>
                        <a:lnTo>
                          <a:pt x="7" y="30"/>
                        </a:lnTo>
                        <a:lnTo>
                          <a:pt x="7" y="30"/>
                        </a:lnTo>
                        <a:lnTo>
                          <a:pt x="2" y="28"/>
                        </a:lnTo>
                        <a:lnTo>
                          <a:pt x="2" y="28"/>
                        </a:lnTo>
                        <a:lnTo>
                          <a:pt x="2" y="28"/>
                        </a:lnTo>
                        <a:lnTo>
                          <a:pt x="2" y="28"/>
                        </a:lnTo>
                        <a:close/>
                      </a:path>
                    </a:pathLst>
                  </a:custGeom>
                  <a:solidFill>
                    <a:srgbClr val="92D050"/>
                  </a:solidFill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09" name="Freeform 1221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6710363" y="3297238"/>
                    <a:ext cx="20637" cy="41275"/>
                  </a:xfrm>
                  <a:custGeom>
                    <a:avLst/>
                    <a:gdLst/>
                    <a:ahLst/>
                    <a:cxnLst>
                      <a:cxn ang="0">
                        <a:pos x="7" y="26"/>
                      </a:cxn>
                      <a:cxn ang="0">
                        <a:pos x="3" y="24"/>
                      </a:cxn>
                      <a:cxn ang="0">
                        <a:pos x="3" y="24"/>
                      </a:cxn>
                      <a:cxn ang="0">
                        <a:pos x="3" y="24"/>
                      </a:cxn>
                      <a:cxn ang="0">
                        <a:pos x="3" y="24"/>
                      </a:cxn>
                      <a:cxn ang="0">
                        <a:pos x="0" y="19"/>
                      </a:cxn>
                      <a:cxn ang="0">
                        <a:pos x="0" y="19"/>
                      </a:cxn>
                      <a:cxn ang="0">
                        <a:pos x="0" y="14"/>
                      </a:cxn>
                      <a:cxn ang="0">
                        <a:pos x="0" y="14"/>
                      </a:cxn>
                      <a:cxn ang="0">
                        <a:pos x="0" y="12"/>
                      </a:cxn>
                      <a:cxn ang="0">
                        <a:pos x="0" y="12"/>
                      </a:cxn>
                      <a:cxn ang="0">
                        <a:pos x="5" y="0"/>
                      </a:cxn>
                      <a:cxn ang="0">
                        <a:pos x="5" y="0"/>
                      </a:cxn>
                      <a:cxn ang="0">
                        <a:pos x="5" y="0"/>
                      </a:cxn>
                      <a:cxn ang="0">
                        <a:pos x="5" y="0"/>
                      </a:cxn>
                      <a:cxn ang="0">
                        <a:pos x="7" y="0"/>
                      </a:cxn>
                      <a:cxn ang="0">
                        <a:pos x="7" y="0"/>
                      </a:cxn>
                      <a:cxn ang="0">
                        <a:pos x="12" y="14"/>
                      </a:cxn>
                      <a:cxn ang="0">
                        <a:pos x="12" y="14"/>
                      </a:cxn>
                      <a:cxn ang="0">
                        <a:pos x="12" y="21"/>
                      </a:cxn>
                      <a:cxn ang="0">
                        <a:pos x="12" y="21"/>
                      </a:cxn>
                      <a:cxn ang="0">
                        <a:pos x="12" y="24"/>
                      </a:cxn>
                      <a:cxn ang="0">
                        <a:pos x="12" y="24"/>
                      </a:cxn>
                      <a:cxn ang="0">
                        <a:pos x="12" y="26"/>
                      </a:cxn>
                      <a:cxn ang="0">
                        <a:pos x="12" y="26"/>
                      </a:cxn>
                      <a:cxn ang="0">
                        <a:pos x="10" y="26"/>
                      </a:cxn>
                      <a:cxn ang="0">
                        <a:pos x="10" y="26"/>
                      </a:cxn>
                      <a:cxn ang="0">
                        <a:pos x="7" y="26"/>
                      </a:cxn>
                      <a:cxn ang="0">
                        <a:pos x="7" y="26"/>
                      </a:cxn>
                      <a:cxn ang="0">
                        <a:pos x="7" y="26"/>
                      </a:cxn>
                      <a:cxn ang="0">
                        <a:pos x="7" y="26"/>
                      </a:cxn>
                      <a:cxn ang="0">
                        <a:pos x="7" y="26"/>
                      </a:cxn>
                      <a:cxn ang="0">
                        <a:pos x="7" y="26"/>
                      </a:cxn>
                    </a:cxnLst>
                    <a:rect l="0" t="0" r="r" b="b"/>
                    <a:pathLst>
                      <a:path w="12" h="26">
                        <a:moveTo>
                          <a:pt x="7" y="26"/>
                        </a:moveTo>
                        <a:lnTo>
                          <a:pt x="3" y="24"/>
                        </a:lnTo>
                        <a:lnTo>
                          <a:pt x="3" y="24"/>
                        </a:lnTo>
                        <a:lnTo>
                          <a:pt x="3" y="24"/>
                        </a:lnTo>
                        <a:lnTo>
                          <a:pt x="3" y="24"/>
                        </a:lnTo>
                        <a:lnTo>
                          <a:pt x="0" y="19"/>
                        </a:lnTo>
                        <a:lnTo>
                          <a:pt x="0" y="19"/>
                        </a:lnTo>
                        <a:lnTo>
                          <a:pt x="0" y="14"/>
                        </a:lnTo>
                        <a:lnTo>
                          <a:pt x="0" y="14"/>
                        </a:lnTo>
                        <a:lnTo>
                          <a:pt x="0" y="12"/>
                        </a:lnTo>
                        <a:lnTo>
                          <a:pt x="0" y="12"/>
                        </a:lnTo>
                        <a:lnTo>
                          <a:pt x="5" y="0"/>
                        </a:lnTo>
                        <a:lnTo>
                          <a:pt x="5" y="0"/>
                        </a:lnTo>
                        <a:lnTo>
                          <a:pt x="5" y="0"/>
                        </a:lnTo>
                        <a:lnTo>
                          <a:pt x="5" y="0"/>
                        </a:lnTo>
                        <a:lnTo>
                          <a:pt x="7" y="0"/>
                        </a:lnTo>
                        <a:lnTo>
                          <a:pt x="7" y="0"/>
                        </a:lnTo>
                        <a:lnTo>
                          <a:pt x="12" y="14"/>
                        </a:lnTo>
                        <a:lnTo>
                          <a:pt x="12" y="14"/>
                        </a:lnTo>
                        <a:lnTo>
                          <a:pt x="12" y="21"/>
                        </a:lnTo>
                        <a:lnTo>
                          <a:pt x="12" y="21"/>
                        </a:lnTo>
                        <a:lnTo>
                          <a:pt x="12" y="24"/>
                        </a:lnTo>
                        <a:lnTo>
                          <a:pt x="12" y="24"/>
                        </a:lnTo>
                        <a:lnTo>
                          <a:pt x="12" y="26"/>
                        </a:lnTo>
                        <a:lnTo>
                          <a:pt x="12" y="26"/>
                        </a:lnTo>
                        <a:lnTo>
                          <a:pt x="10" y="26"/>
                        </a:lnTo>
                        <a:lnTo>
                          <a:pt x="10" y="26"/>
                        </a:lnTo>
                        <a:lnTo>
                          <a:pt x="7" y="26"/>
                        </a:lnTo>
                        <a:lnTo>
                          <a:pt x="7" y="26"/>
                        </a:lnTo>
                        <a:lnTo>
                          <a:pt x="7" y="26"/>
                        </a:lnTo>
                        <a:lnTo>
                          <a:pt x="7" y="26"/>
                        </a:lnTo>
                        <a:lnTo>
                          <a:pt x="7" y="26"/>
                        </a:lnTo>
                        <a:lnTo>
                          <a:pt x="7" y="26"/>
                        </a:lnTo>
                        <a:close/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10" name="Freeform 1222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7334250" y="4398963"/>
                    <a:ext cx="57150" cy="93663"/>
                  </a:xfrm>
                  <a:custGeom>
                    <a:avLst/>
                    <a:gdLst/>
                    <a:ahLst/>
                    <a:cxnLst>
                      <a:cxn ang="0">
                        <a:pos x="3" y="43"/>
                      </a:cxn>
                      <a:cxn ang="0">
                        <a:pos x="0" y="33"/>
                      </a:cxn>
                      <a:cxn ang="0">
                        <a:pos x="0" y="31"/>
                      </a:cxn>
                      <a:cxn ang="0">
                        <a:pos x="0" y="17"/>
                      </a:cxn>
                      <a:cxn ang="0">
                        <a:pos x="0" y="7"/>
                      </a:cxn>
                      <a:cxn ang="0">
                        <a:pos x="0" y="5"/>
                      </a:cxn>
                      <a:cxn ang="0">
                        <a:pos x="0" y="3"/>
                      </a:cxn>
                      <a:cxn ang="0">
                        <a:pos x="3" y="0"/>
                      </a:cxn>
                      <a:cxn ang="0">
                        <a:pos x="3" y="0"/>
                      </a:cxn>
                      <a:cxn ang="0">
                        <a:pos x="5" y="0"/>
                      </a:cxn>
                      <a:cxn ang="0">
                        <a:pos x="8" y="0"/>
                      </a:cxn>
                      <a:cxn ang="0">
                        <a:pos x="8" y="0"/>
                      </a:cxn>
                      <a:cxn ang="0">
                        <a:pos x="10" y="0"/>
                      </a:cxn>
                      <a:cxn ang="0">
                        <a:pos x="10" y="5"/>
                      </a:cxn>
                      <a:cxn ang="0">
                        <a:pos x="15" y="14"/>
                      </a:cxn>
                      <a:cxn ang="0">
                        <a:pos x="15" y="17"/>
                      </a:cxn>
                      <a:cxn ang="0">
                        <a:pos x="17" y="19"/>
                      </a:cxn>
                      <a:cxn ang="0">
                        <a:pos x="19" y="22"/>
                      </a:cxn>
                      <a:cxn ang="0">
                        <a:pos x="26" y="29"/>
                      </a:cxn>
                      <a:cxn ang="0">
                        <a:pos x="31" y="31"/>
                      </a:cxn>
                      <a:cxn ang="0">
                        <a:pos x="34" y="31"/>
                      </a:cxn>
                      <a:cxn ang="0">
                        <a:pos x="34" y="33"/>
                      </a:cxn>
                      <a:cxn ang="0">
                        <a:pos x="34" y="36"/>
                      </a:cxn>
                      <a:cxn ang="0">
                        <a:pos x="31" y="38"/>
                      </a:cxn>
                      <a:cxn ang="0">
                        <a:pos x="29" y="45"/>
                      </a:cxn>
                      <a:cxn ang="0">
                        <a:pos x="22" y="52"/>
                      </a:cxn>
                      <a:cxn ang="0">
                        <a:pos x="19" y="55"/>
                      </a:cxn>
                      <a:cxn ang="0">
                        <a:pos x="17" y="55"/>
                      </a:cxn>
                      <a:cxn ang="0">
                        <a:pos x="17" y="52"/>
                      </a:cxn>
                      <a:cxn ang="0">
                        <a:pos x="17" y="52"/>
                      </a:cxn>
                      <a:cxn ang="0">
                        <a:pos x="15" y="50"/>
                      </a:cxn>
                      <a:cxn ang="0">
                        <a:pos x="5" y="48"/>
                      </a:cxn>
                      <a:cxn ang="0">
                        <a:pos x="5" y="48"/>
                      </a:cxn>
                    </a:cxnLst>
                    <a:rect l="0" t="0" r="r" b="b"/>
                    <a:pathLst>
                      <a:path w="34" h="55">
                        <a:moveTo>
                          <a:pt x="5" y="48"/>
                        </a:moveTo>
                        <a:lnTo>
                          <a:pt x="3" y="43"/>
                        </a:lnTo>
                        <a:lnTo>
                          <a:pt x="3" y="43"/>
                        </a:lnTo>
                        <a:lnTo>
                          <a:pt x="0" y="33"/>
                        </a:lnTo>
                        <a:lnTo>
                          <a:pt x="0" y="33"/>
                        </a:lnTo>
                        <a:lnTo>
                          <a:pt x="0" y="31"/>
                        </a:lnTo>
                        <a:lnTo>
                          <a:pt x="0" y="31"/>
                        </a:lnTo>
                        <a:lnTo>
                          <a:pt x="0" y="17"/>
                        </a:lnTo>
                        <a:lnTo>
                          <a:pt x="0" y="17"/>
                        </a:lnTo>
                        <a:lnTo>
                          <a:pt x="0" y="7"/>
                        </a:lnTo>
                        <a:lnTo>
                          <a:pt x="0" y="7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5" y="0"/>
                        </a:lnTo>
                        <a:lnTo>
                          <a:pt x="5" y="0"/>
                        </a:lnTo>
                        <a:lnTo>
                          <a:pt x="8" y="0"/>
                        </a:lnTo>
                        <a:lnTo>
                          <a:pt x="8" y="0"/>
                        </a:lnTo>
                        <a:lnTo>
                          <a:pt x="8" y="0"/>
                        </a:lnTo>
                        <a:lnTo>
                          <a:pt x="8" y="0"/>
                        </a:lnTo>
                        <a:lnTo>
                          <a:pt x="10" y="0"/>
                        </a:lnTo>
                        <a:lnTo>
                          <a:pt x="10" y="0"/>
                        </a:lnTo>
                        <a:lnTo>
                          <a:pt x="10" y="5"/>
                        </a:lnTo>
                        <a:lnTo>
                          <a:pt x="10" y="5"/>
                        </a:lnTo>
                        <a:lnTo>
                          <a:pt x="15" y="14"/>
                        </a:lnTo>
                        <a:lnTo>
                          <a:pt x="15" y="14"/>
                        </a:lnTo>
                        <a:lnTo>
                          <a:pt x="15" y="17"/>
                        </a:lnTo>
                        <a:lnTo>
                          <a:pt x="15" y="17"/>
                        </a:lnTo>
                        <a:lnTo>
                          <a:pt x="17" y="19"/>
                        </a:lnTo>
                        <a:lnTo>
                          <a:pt x="17" y="19"/>
                        </a:lnTo>
                        <a:lnTo>
                          <a:pt x="19" y="22"/>
                        </a:lnTo>
                        <a:lnTo>
                          <a:pt x="19" y="22"/>
                        </a:lnTo>
                        <a:lnTo>
                          <a:pt x="26" y="29"/>
                        </a:lnTo>
                        <a:lnTo>
                          <a:pt x="26" y="29"/>
                        </a:lnTo>
                        <a:lnTo>
                          <a:pt x="31" y="31"/>
                        </a:lnTo>
                        <a:lnTo>
                          <a:pt x="31" y="31"/>
                        </a:lnTo>
                        <a:lnTo>
                          <a:pt x="34" y="31"/>
                        </a:lnTo>
                        <a:lnTo>
                          <a:pt x="34" y="31"/>
                        </a:lnTo>
                        <a:lnTo>
                          <a:pt x="34" y="33"/>
                        </a:lnTo>
                        <a:lnTo>
                          <a:pt x="34" y="33"/>
                        </a:lnTo>
                        <a:lnTo>
                          <a:pt x="34" y="36"/>
                        </a:lnTo>
                        <a:lnTo>
                          <a:pt x="34" y="36"/>
                        </a:lnTo>
                        <a:lnTo>
                          <a:pt x="31" y="38"/>
                        </a:lnTo>
                        <a:lnTo>
                          <a:pt x="31" y="38"/>
                        </a:lnTo>
                        <a:lnTo>
                          <a:pt x="29" y="45"/>
                        </a:lnTo>
                        <a:lnTo>
                          <a:pt x="29" y="45"/>
                        </a:lnTo>
                        <a:lnTo>
                          <a:pt x="22" y="52"/>
                        </a:lnTo>
                        <a:lnTo>
                          <a:pt x="22" y="52"/>
                        </a:lnTo>
                        <a:lnTo>
                          <a:pt x="19" y="55"/>
                        </a:lnTo>
                        <a:lnTo>
                          <a:pt x="19" y="55"/>
                        </a:lnTo>
                        <a:lnTo>
                          <a:pt x="17" y="55"/>
                        </a:lnTo>
                        <a:lnTo>
                          <a:pt x="17" y="55"/>
                        </a:lnTo>
                        <a:lnTo>
                          <a:pt x="17" y="52"/>
                        </a:lnTo>
                        <a:lnTo>
                          <a:pt x="17" y="52"/>
                        </a:lnTo>
                        <a:lnTo>
                          <a:pt x="17" y="52"/>
                        </a:lnTo>
                        <a:lnTo>
                          <a:pt x="17" y="52"/>
                        </a:lnTo>
                        <a:lnTo>
                          <a:pt x="15" y="50"/>
                        </a:lnTo>
                        <a:lnTo>
                          <a:pt x="15" y="50"/>
                        </a:lnTo>
                        <a:lnTo>
                          <a:pt x="5" y="48"/>
                        </a:lnTo>
                        <a:lnTo>
                          <a:pt x="5" y="48"/>
                        </a:lnTo>
                        <a:lnTo>
                          <a:pt x="5" y="48"/>
                        </a:lnTo>
                        <a:lnTo>
                          <a:pt x="5" y="48"/>
                        </a:lnTo>
                        <a:close/>
                      </a:path>
                    </a:pathLst>
                  </a:custGeom>
                  <a:solidFill>
                    <a:srgbClr val="92D050"/>
                  </a:solidFill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grpSp>
                <p:nvGrpSpPr>
                  <p:cNvPr id="411" name="Group 1226"/>
                  <p:cNvGrpSpPr>
                    <a:grpSpLocks/>
                  </p:cNvGrpSpPr>
                  <p:nvPr/>
                </p:nvGrpSpPr>
                <p:grpSpPr bwMode="auto">
                  <a:xfrm>
                    <a:off x="6815138" y="3392488"/>
                    <a:ext cx="234950" cy="1428750"/>
                    <a:chOff x="4715" y="2665"/>
                    <a:chExt cx="160" cy="970"/>
                  </a:xfrm>
                  <a:grpFill/>
                  <a:effectLst/>
                </p:grpSpPr>
                <p:sp>
                  <p:nvSpPr>
                    <p:cNvPr id="420" name="Freeform 1227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4715" y="2665"/>
                      <a:ext cx="98" cy="120"/>
                    </a:xfrm>
                    <a:custGeom>
                      <a:avLst/>
                      <a:gdLst/>
                      <a:ahLst/>
                      <a:cxnLst>
                        <a:cxn ang="0">
                          <a:pos x="16" y="106"/>
                        </a:cxn>
                        <a:cxn ang="0">
                          <a:pos x="4" y="85"/>
                        </a:cxn>
                        <a:cxn ang="0">
                          <a:pos x="4" y="61"/>
                        </a:cxn>
                        <a:cxn ang="0">
                          <a:pos x="2" y="52"/>
                        </a:cxn>
                        <a:cxn ang="0">
                          <a:pos x="0" y="50"/>
                        </a:cxn>
                        <a:cxn ang="0">
                          <a:pos x="2" y="31"/>
                        </a:cxn>
                        <a:cxn ang="0">
                          <a:pos x="4" y="31"/>
                        </a:cxn>
                        <a:cxn ang="0">
                          <a:pos x="9" y="26"/>
                        </a:cxn>
                        <a:cxn ang="0">
                          <a:pos x="12" y="28"/>
                        </a:cxn>
                        <a:cxn ang="0">
                          <a:pos x="14" y="33"/>
                        </a:cxn>
                        <a:cxn ang="0">
                          <a:pos x="19" y="35"/>
                        </a:cxn>
                        <a:cxn ang="0">
                          <a:pos x="28" y="42"/>
                        </a:cxn>
                        <a:cxn ang="0">
                          <a:pos x="28" y="45"/>
                        </a:cxn>
                        <a:cxn ang="0">
                          <a:pos x="33" y="45"/>
                        </a:cxn>
                        <a:cxn ang="0">
                          <a:pos x="35" y="40"/>
                        </a:cxn>
                        <a:cxn ang="0">
                          <a:pos x="37" y="42"/>
                        </a:cxn>
                        <a:cxn ang="0">
                          <a:pos x="42" y="31"/>
                        </a:cxn>
                        <a:cxn ang="0">
                          <a:pos x="42" y="21"/>
                        </a:cxn>
                        <a:cxn ang="0">
                          <a:pos x="40" y="21"/>
                        </a:cxn>
                        <a:cxn ang="0">
                          <a:pos x="37" y="12"/>
                        </a:cxn>
                        <a:cxn ang="0">
                          <a:pos x="40" y="9"/>
                        </a:cxn>
                        <a:cxn ang="0">
                          <a:pos x="45" y="5"/>
                        </a:cxn>
                        <a:cxn ang="0">
                          <a:pos x="49" y="0"/>
                        </a:cxn>
                        <a:cxn ang="0">
                          <a:pos x="56" y="7"/>
                        </a:cxn>
                        <a:cxn ang="0">
                          <a:pos x="59" y="14"/>
                        </a:cxn>
                        <a:cxn ang="0">
                          <a:pos x="59" y="16"/>
                        </a:cxn>
                        <a:cxn ang="0">
                          <a:pos x="59" y="19"/>
                        </a:cxn>
                        <a:cxn ang="0">
                          <a:pos x="59" y="24"/>
                        </a:cxn>
                        <a:cxn ang="0">
                          <a:pos x="59" y="26"/>
                        </a:cxn>
                        <a:cxn ang="0">
                          <a:pos x="63" y="33"/>
                        </a:cxn>
                        <a:cxn ang="0">
                          <a:pos x="66" y="33"/>
                        </a:cxn>
                        <a:cxn ang="0">
                          <a:pos x="71" y="33"/>
                        </a:cxn>
                        <a:cxn ang="0">
                          <a:pos x="71" y="33"/>
                        </a:cxn>
                        <a:cxn ang="0">
                          <a:pos x="78" y="38"/>
                        </a:cxn>
                        <a:cxn ang="0">
                          <a:pos x="87" y="47"/>
                        </a:cxn>
                        <a:cxn ang="0">
                          <a:pos x="71" y="50"/>
                        </a:cxn>
                        <a:cxn ang="0">
                          <a:pos x="63" y="52"/>
                        </a:cxn>
                        <a:cxn ang="0">
                          <a:pos x="61" y="54"/>
                        </a:cxn>
                        <a:cxn ang="0">
                          <a:pos x="49" y="59"/>
                        </a:cxn>
                        <a:cxn ang="0">
                          <a:pos x="45" y="57"/>
                        </a:cxn>
                        <a:cxn ang="0">
                          <a:pos x="42" y="54"/>
                        </a:cxn>
                        <a:cxn ang="0">
                          <a:pos x="40" y="50"/>
                        </a:cxn>
                        <a:cxn ang="0">
                          <a:pos x="37" y="50"/>
                        </a:cxn>
                        <a:cxn ang="0">
                          <a:pos x="33" y="52"/>
                        </a:cxn>
                        <a:cxn ang="0">
                          <a:pos x="33" y="52"/>
                        </a:cxn>
                        <a:cxn ang="0">
                          <a:pos x="33" y="64"/>
                        </a:cxn>
                        <a:cxn ang="0">
                          <a:pos x="35" y="73"/>
                        </a:cxn>
                        <a:cxn ang="0">
                          <a:pos x="37" y="87"/>
                        </a:cxn>
                        <a:cxn ang="0">
                          <a:pos x="33" y="97"/>
                        </a:cxn>
                        <a:cxn ang="0">
                          <a:pos x="16" y="106"/>
                        </a:cxn>
                        <a:cxn ang="0">
                          <a:pos x="16" y="106"/>
                        </a:cxn>
                      </a:cxnLst>
                      <a:rect l="0" t="0" r="r" b="b"/>
                      <a:pathLst>
                        <a:path w="87" h="106">
                          <a:moveTo>
                            <a:pt x="16" y="106"/>
                          </a:moveTo>
                          <a:lnTo>
                            <a:pt x="16" y="106"/>
                          </a:lnTo>
                          <a:lnTo>
                            <a:pt x="16" y="106"/>
                          </a:lnTo>
                          <a:lnTo>
                            <a:pt x="12" y="97"/>
                          </a:lnTo>
                          <a:lnTo>
                            <a:pt x="12" y="97"/>
                          </a:lnTo>
                          <a:lnTo>
                            <a:pt x="4" y="85"/>
                          </a:lnTo>
                          <a:lnTo>
                            <a:pt x="4" y="85"/>
                          </a:lnTo>
                          <a:lnTo>
                            <a:pt x="4" y="61"/>
                          </a:lnTo>
                          <a:lnTo>
                            <a:pt x="4" y="61"/>
                          </a:lnTo>
                          <a:lnTo>
                            <a:pt x="4" y="57"/>
                          </a:lnTo>
                          <a:lnTo>
                            <a:pt x="4" y="57"/>
                          </a:lnTo>
                          <a:lnTo>
                            <a:pt x="2" y="52"/>
                          </a:lnTo>
                          <a:lnTo>
                            <a:pt x="2" y="52"/>
                          </a:lnTo>
                          <a:lnTo>
                            <a:pt x="0" y="50"/>
                          </a:lnTo>
                          <a:lnTo>
                            <a:pt x="0" y="50"/>
                          </a:lnTo>
                          <a:lnTo>
                            <a:pt x="0" y="45"/>
                          </a:lnTo>
                          <a:lnTo>
                            <a:pt x="0" y="45"/>
                          </a:lnTo>
                          <a:lnTo>
                            <a:pt x="2" y="31"/>
                          </a:lnTo>
                          <a:lnTo>
                            <a:pt x="2" y="31"/>
                          </a:lnTo>
                          <a:lnTo>
                            <a:pt x="4" y="31"/>
                          </a:lnTo>
                          <a:lnTo>
                            <a:pt x="4" y="31"/>
                          </a:lnTo>
                          <a:lnTo>
                            <a:pt x="7" y="28"/>
                          </a:lnTo>
                          <a:lnTo>
                            <a:pt x="7" y="28"/>
                          </a:lnTo>
                          <a:lnTo>
                            <a:pt x="9" y="26"/>
                          </a:lnTo>
                          <a:lnTo>
                            <a:pt x="9" y="26"/>
                          </a:lnTo>
                          <a:lnTo>
                            <a:pt x="12" y="28"/>
                          </a:lnTo>
                          <a:lnTo>
                            <a:pt x="12" y="28"/>
                          </a:lnTo>
                          <a:lnTo>
                            <a:pt x="14" y="31"/>
                          </a:lnTo>
                          <a:lnTo>
                            <a:pt x="14" y="31"/>
                          </a:lnTo>
                          <a:lnTo>
                            <a:pt x="14" y="33"/>
                          </a:lnTo>
                          <a:lnTo>
                            <a:pt x="14" y="33"/>
                          </a:lnTo>
                          <a:lnTo>
                            <a:pt x="19" y="35"/>
                          </a:lnTo>
                          <a:lnTo>
                            <a:pt x="19" y="35"/>
                          </a:lnTo>
                          <a:lnTo>
                            <a:pt x="28" y="42"/>
                          </a:lnTo>
                          <a:lnTo>
                            <a:pt x="28" y="42"/>
                          </a:lnTo>
                          <a:lnTo>
                            <a:pt x="28" y="42"/>
                          </a:lnTo>
                          <a:lnTo>
                            <a:pt x="28" y="42"/>
                          </a:lnTo>
                          <a:lnTo>
                            <a:pt x="28" y="45"/>
                          </a:lnTo>
                          <a:lnTo>
                            <a:pt x="28" y="45"/>
                          </a:lnTo>
                          <a:lnTo>
                            <a:pt x="30" y="45"/>
                          </a:lnTo>
                          <a:lnTo>
                            <a:pt x="30" y="45"/>
                          </a:lnTo>
                          <a:lnTo>
                            <a:pt x="33" y="45"/>
                          </a:lnTo>
                          <a:lnTo>
                            <a:pt x="33" y="45"/>
                          </a:lnTo>
                          <a:lnTo>
                            <a:pt x="35" y="40"/>
                          </a:lnTo>
                          <a:lnTo>
                            <a:pt x="35" y="40"/>
                          </a:lnTo>
                          <a:lnTo>
                            <a:pt x="37" y="42"/>
                          </a:lnTo>
                          <a:lnTo>
                            <a:pt x="37" y="42"/>
                          </a:lnTo>
                          <a:lnTo>
                            <a:pt x="37" y="42"/>
                          </a:lnTo>
                          <a:lnTo>
                            <a:pt x="37" y="42"/>
                          </a:lnTo>
                          <a:lnTo>
                            <a:pt x="42" y="31"/>
                          </a:lnTo>
                          <a:lnTo>
                            <a:pt x="42" y="31"/>
                          </a:lnTo>
                          <a:lnTo>
                            <a:pt x="42" y="24"/>
                          </a:lnTo>
                          <a:lnTo>
                            <a:pt x="42" y="24"/>
                          </a:lnTo>
                          <a:lnTo>
                            <a:pt x="42" y="21"/>
                          </a:lnTo>
                          <a:lnTo>
                            <a:pt x="42" y="21"/>
                          </a:lnTo>
                          <a:lnTo>
                            <a:pt x="40" y="21"/>
                          </a:lnTo>
                          <a:lnTo>
                            <a:pt x="40" y="21"/>
                          </a:lnTo>
                          <a:lnTo>
                            <a:pt x="40" y="19"/>
                          </a:lnTo>
                          <a:lnTo>
                            <a:pt x="40" y="19"/>
                          </a:lnTo>
                          <a:lnTo>
                            <a:pt x="37" y="12"/>
                          </a:lnTo>
                          <a:lnTo>
                            <a:pt x="37" y="12"/>
                          </a:lnTo>
                          <a:lnTo>
                            <a:pt x="40" y="9"/>
                          </a:lnTo>
                          <a:lnTo>
                            <a:pt x="40" y="9"/>
                          </a:lnTo>
                          <a:lnTo>
                            <a:pt x="40" y="9"/>
                          </a:lnTo>
                          <a:lnTo>
                            <a:pt x="40" y="9"/>
                          </a:lnTo>
                          <a:lnTo>
                            <a:pt x="45" y="5"/>
                          </a:lnTo>
                          <a:lnTo>
                            <a:pt x="45" y="5"/>
                          </a:lnTo>
                          <a:lnTo>
                            <a:pt x="49" y="0"/>
                          </a:lnTo>
                          <a:lnTo>
                            <a:pt x="49" y="0"/>
                          </a:lnTo>
                          <a:lnTo>
                            <a:pt x="56" y="7"/>
                          </a:lnTo>
                          <a:lnTo>
                            <a:pt x="56" y="7"/>
                          </a:lnTo>
                          <a:lnTo>
                            <a:pt x="56" y="7"/>
                          </a:lnTo>
                          <a:lnTo>
                            <a:pt x="56" y="7"/>
                          </a:lnTo>
                          <a:lnTo>
                            <a:pt x="59" y="14"/>
                          </a:lnTo>
                          <a:lnTo>
                            <a:pt x="59" y="14"/>
                          </a:lnTo>
                          <a:lnTo>
                            <a:pt x="59" y="16"/>
                          </a:lnTo>
                          <a:lnTo>
                            <a:pt x="59" y="16"/>
                          </a:lnTo>
                          <a:lnTo>
                            <a:pt x="59" y="16"/>
                          </a:lnTo>
                          <a:lnTo>
                            <a:pt x="59" y="16"/>
                          </a:lnTo>
                          <a:lnTo>
                            <a:pt x="59" y="19"/>
                          </a:lnTo>
                          <a:lnTo>
                            <a:pt x="59" y="19"/>
                          </a:lnTo>
                          <a:lnTo>
                            <a:pt x="59" y="24"/>
                          </a:lnTo>
                          <a:lnTo>
                            <a:pt x="59" y="24"/>
                          </a:lnTo>
                          <a:lnTo>
                            <a:pt x="59" y="24"/>
                          </a:lnTo>
                          <a:lnTo>
                            <a:pt x="59" y="24"/>
                          </a:lnTo>
                          <a:lnTo>
                            <a:pt x="59" y="26"/>
                          </a:lnTo>
                          <a:lnTo>
                            <a:pt x="59" y="26"/>
                          </a:lnTo>
                          <a:lnTo>
                            <a:pt x="63" y="31"/>
                          </a:lnTo>
                          <a:lnTo>
                            <a:pt x="63" y="31"/>
                          </a:lnTo>
                          <a:lnTo>
                            <a:pt x="63" y="33"/>
                          </a:lnTo>
                          <a:lnTo>
                            <a:pt x="63" y="33"/>
                          </a:lnTo>
                          <a:lnTo>
                            <a:pt x="66" y="33"/>
                          </a:lnTo>
                          <a:lnTo>
                            <a:pt x="66" y="33"/>
                          </a:lnTo>
                          <a:lnTo>
                            <a:pt x="68" y="33"/>
                          </a:lnTo>
                          <a:lnTo>
                            <a:pt x="68" y="33"/>
                          </a:lnTo>
                          <a:lnTo>
                            <a:pt x="71" y="33"/>
                          </a:lnTo>
                          <a:lnTo>
                            <a:pt x="71" y="33"/>
                          </a:lnTo>
                          <a:lnTo>
                            <a:pt x="71" y="33"/>
                          </a:lnTo>
                          <a:lnTo>
                            <a:pt x="71" y="33"/>
                          </a:lnTo>
                          <a:lnTo>
                            <a:pt x="75" y="35"/>
                          </a:lnTo>
                          <a:lnTo>
                            <a:pt x="75" y="35"/>
                          </a:lnTo>
                          <a:lnTo>
                            <a:pt x="78" y="38"/>
                          </a:lnTo>
                          <a:lnTo>
                            <a:pt x="78" y="38"/>
                          </a:lnTo>
                          <a:lnTo>
                            <a:pt x="87" y="47"/>
                          </a:lnTo>
                          <a:lnTo>
                            <a:pt x="87" y="47"/>
                          </a:lnTo>
                          <a:lnTo>
                            <a:pt x="82" y="47"/>
                          </a:lnTo>
                          <a:lnTo>
                            <a:pt x="82" y="47"/>
                          </a:lnTo>
                          <a:lnTo>
                            <a:pt x="71" y="50"/>
                          </a:lnTo>
                          <a:lnTo>
                            <a:pt x="71" y="50"/>
                          </a:lnTo>
                          <a:lnTo>
                            <a:pt x="63" y="52"/>
                          </a:lnTo>
                          <a:lnTo>
                            <a:pt x="63" y="52"/>
                          </a:lnTo>
                          <a:lnTo>
                            <a:pt x="63" y="54"/>
                          </a:lnTo>
                          <a:lnTo>
                            <a:pt x="63" y="54"/>
                          </a:lnTo>
                          <a:lnTo>
                            <a:pt x="61" y="54"/>
                          </a:lnTo>
                          <a:lnTo>
                            <a:pt x="61" y="54"/>
                          </a:lnTo>
                          <a:lnTo>
                            <a:pt x="49" y="59"/>
                          </a:lnTo>
                          <a:lnTo>
                            <a:pt x="49" y="59"/>
                          </a:lnTo>
                          <a:lnTo>
                            <a:pt x="49" y="59"/>
                          </a:lnTo>
                          <a:lnTo>
                            <a:pt x="49" y="59"/>
                          </a:lnTo>
                          <a:lnTo>
                            <a:pt x="45" y="57"/>
                          </a:lnTo>
                          <a:lnTo>
                            <a:pt x="45" y="57"/>
                          </a:lnTo>
                          <a:lnTo>
                            <a:pt x="42" y="54"/>
                          </a:lnTo>
                          <a:lnTo>
                            <a:pt x="42" y="54"/>
                          </a:lnTo>
                          <a:lnTo>
                            <a:pt x="40" y="52"/>
                          </a:lnTo>
                          <a:lnTo>
                            <a:pt x="40" y="52"/>
                          </a:lnTo>
                          <a:lnTo>
                            <a:pt x="40" y="50"/>
                          </a:lnTo>
                          <a:lnTo>
                            <a:pt x="40" y="50"/>
                          </a:lnTo>
                          <a:lnTo>
                            <a:pt x="37" y="50"/>
                          </a:lnTo>
                          <a:lnTo>
                            <a:pt x="37" y="50"/>
                          </a:lnTo>
                          <a:lnTo>
                            <a:pt x="37" y="50"/>
                          </a:lnTo>
                          <a:lnTo>
                            <a:pt x="37" y="50"/>
                          </a:lnTo>
                          <a:lnTo>
                            <a:pt x="33" y="52"/>
                          </a:lnTo>
                          <a:lnTo>
                            <a:pt x="33" y="52"/>
                          </a:lnTo>
                          <a:lnTo>
                            <a:pt x="33" y="52"/>
                          </a:lnTo>
                          <a:lnTo>
                            <a:pt x="33" y="52"/>
                          </a:lnTo>
                          <a:lnTo>
                            <a:pt x="33" y="59"/>
                          </a:lnTo>
                          <a:lnTo>
                            <a:pt x="33" y="59"/>
                          </a:lnTo>
                          <a:lnTo>
                            <a:pt x="33" y="64"/>
                          </a:lnTo>
                          <a:lnTo>
                            <a:pt x="33" y="64"/>
                          </a:lnTo>
                          <a:lnTo>
                            <a:pt x="35" y="73"/>
                          </a:lnTo>
                          <a:lnTo>
                            <a:pt x="35" y="73"/>
                          </a:lnTo>
                          <a:lnTo>
                            <a:pt x="35" y="75"/>
                          </a:lnTo>
                          <a:lnTo>
                            <a:pt x="35" y="75"/>
                          </a:lnTo>
                          <a:lnTo>
                            <a:pt x="37" y="87"/>
                          </a:lnTo>
                          <a:lnTo>
                            <a:pt x="37" y="87"/>
                          </a:lnTo>
                          <a:lnTo>
                            <a:pt x="33" y="97"/>
                          </a:lnTo>
                          <a:lnTo>
                            <a:pt x="33" y="97"/>
                          </a:lnTo>
                          <a:lnTo>
                            <a:pt x="28" y="101"/>
                          </a:lnTo>
                          <a:lnTo>
                            <a:pt x="28" y="101"/>
                          </a:lnTo>
                          <a:lnTo>
                            <a:pt x="16" y="106"/>
                          </a:lnTo>
                          <a:lnTo>
                            <a:pt x="16" y="106"/>
                          </a:lnTo>
                          <a:lnTo>
                            <a:pt x="16" y="106"/>
                          </a:lnTo>
                          <a:lnTo>
                            <a:pt x="16" y="106"/>
                          </a:lnTo>
                          <a:lnTo>
                            <a:pt x="16" y="106"/>
                          </a:lnTo>
                          <a:lnTo>
                            <a:pt x="16" y="106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21" name="Freeform 1228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4829" y="2700"/>
                      <a:ext cx="16" cy="10"/>
                    </a:xfrm>
                    <a:custGeom>
                      <a:avLst/>
                      <a:gdLst/>
                      <a:ahLst/>
                      <a:cxnLst>
                        <a:cxn ang="0">
                          <a:pos x="3" y="9"/>
                        </a:cxn>
                        <a:cxn ang="0">
                          <a:pos x="0" y="9"/>
                        </a:cxn>
                        <a:cxn ang="0">
                          <a:pos x="0" y="9"/>
                        </a:cxn>
                        <a:cxn ang="0">
                          <a:pos x="0" y="9"/>
                        </a:cxn>
                        <a:cxn ang="0">
                          <a:pos x="0" y="9"/>
                        </a:cxn>
                        <a:cxn ang="0">
                          <a:pos x="3" y="7"/>
                        </a:cxn>
                        <a:cxn ang="0">
                          <a:pos x="3" y="7"/>
                        </a:cxn>
                        <a:cxn ang="0">
                          <a:pos x="3" y="7"/>
                        </a:cxn>
                        <a:cxn ang="0">
                          <a:pos x="3" y="7"/>
                        </a:cxn>
                        <a:cxn ang="0">
                          <a:pos x="5" y="4"/>
                        </a:cxn>
                        <a:cxn ang="0">
                          <a:pos x="5" y="4"/>
                        </a:cxn>
                        <a:cxn ang="0">
                          <a:pos x="7" y="4"/>
                        </a:cxn>
                        <a:cxn ang="0">
                          <a:pos x="7" y="4"/>
                        </a:cxn>
                        <a:cxn ang="0">
                          <a:pos x="12" y="0"/>
                        </a:cxn>
                        <a:cxn ang="0">
                          <a:pos x="12" y="0"/>
                        </a:cxn>
                        <a:cxn ang="0">
                          <a:pos x="12" y="0"/>
                        </a:cxn>
                        <a:cxn ang="0">
                          <a:pos x="12" y="0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4" y="2"/>
                        </a:cxn>
                        <a:cxn ang="0">
                          <a:pos x="14" y="2"/>
                        </a:cxn>
                        <a:cxn ang="0">
                          <a:pos x="14" y="2"/>
                        </a:cxn>
                        <a:cxn ang="0">
                          <a:pos x="14" y="2"/>
                        </a:cxn>
                        <a:cxn ang="0">
                          <a:pos x="10" y="7"/>
                        </a:cxn>
                        <a:cxn ang="0">
                          <a:pos x="10" y="7"/>
                        </a:cxn>
                        <a:cxn ang="0">
                          <a:pos x="10" y="7"/>
                        </a:cxn>
                        <a:cxn ang="0">
                          <a:pos x="10" y="7"/>
                        </a:cxn>
                        <a:cxn ang="0">
                          <a:pos x="5" y="9"/>
                        </a:cxn>
                        <a:cxn ang="0">
                          <a:pos x="5" y="9"/>
                        </a:cxn>
                        <a:cxn ang="0">
                          <a:pos x="3" y="9"/>
                        </a:cxn>
                        <a:cxn ang="0">
                          <a:pos x="3" y="9"/>
                        </a:cxn>
                        <a:cxn ang="0">
                          <a:pos x="3" y="9"/>
                        </a:cxn>
                        <a:cxn ang="0">
                          <a:pos x="3" y="9"/>
                        </a:cxn>
                        <a:cxn ang="0">
                          <a:pos x="3" y="9"/>
                        </a:cxn>
                        <a:cxn ang="0">
                          <a:pos x="3" y="9"/>
                        </a:cxn>
                      </a:cxnLst>
                      <a:rect l="0" t="0" r="r" b="b"/>
                      <a:pathLst>
                        <a:path w="14" h="9">
                          <a:moveTo>
                            <a:pt x="3" y="9"/>
                          </a:moveTo>
                          <a:lnTo>
                            <a:pt x="0" y="9"/>
                          </a:lnTo>
                          <a:lnTo>
                            <a:pt x="0" y="9"/>
                          </a:lnTo>
                          <a:lnTo>
                            <a:pt x="0" y="9"/>
                          </a:lnTo>
                          <a:lnTo>
                            <a:pt x="0" y="9"/>
                          </a:lnTo>
                          <a:lnTo>
                            <a:pt x="3" y="7"/>
                          </a:lnTo>
                          <a:lnTo>
                            <a:pt x="3" y="7"/>
                          </a:lnTo>
                          <a:lnTo>
                            <a:pt x="3" y="7"/>
                          </a:lnTo>
                          <a:lnTo>
                            <a:pt x="3" y="7"/>
                          </a:lnTo>
                          <a:lnTo>
                            <a:pt x="5" y="4"/>
                          </a:lnTo>
                          <a:lnTo>
                            <a:pt x="5" y="4"/>
                          </a:lnTo>
                          <a:lnTo>
                            <a:pt x="7" y="4"/>
                          </a:lnTo>
                          <a:lnTo>
                            <a:pt x="7" y="4"/>
                          </a:lnTo>
                          <a:lnTo>
                            <a:pt x="12" y="0"/>
                          </a:lnTo>
                          <a:lnTo>
                            <a:pt x="12" y="0"/>
                          </a:lnTo>
                          <a:lnTo>
                            <a:pt x="12" y="0"/>
                          </a:lnTo>
                          <a:lnTo>
                            <a:pt x="12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2"/>
                          </a:lnTo>
                          <a:lnTo>
                            <a:pt x="14" y="2"/>
                          </a:lnTo>
                          <a:lnTo>
                            <a:pt x="14" y="2"/>
                          </a:lnTo>
                          <a:lnTo>
                            <a:pt x="14" y="2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5" y="9"/>
                          </a:lnTo>
                          <a:lnTo>
                            <a:pt x="5" y="9"/>
                          </a:lnTo>
                          <a:lnTo>
                            <a:pt x="3" y="9"/>
                          </a:lnTo>
                          <a:lnTo>
                            <a:pt x="3" y="9"/>
                          </a:lnTo>
                          <a:lnTo>
                            <a:pt x="3" y="9"/>
                          </a:lnTo>
                          <a:lnTo>
                            <a:pt x="3" y="9"/>
                          </a:lnTo>
                          <a:lnTo>
                            <a:pt x="3" y="9"/>
                          </a:lnTo>
                          <a:lnTo>
                            <a:pt x="3" y="9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22" name="Freeform 1229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4792" y="2772"/>
                      <a:ext cx="24" cy="33"/>
                    </a:xfrm>
                    <a:custGeom>
                      <a:avLst/>
                      <a:gdLst/>
                      <a:ahLst/>
                      <a:cxnLst>
                        <a:cxn ang="0">
                          <a:pos x="5" y="26"/>
                        </a:cxn>
                        <a:cxn ang="0">
                          <a:pos x="3" y="24"/>
                        </a:cxn>
                        <a:cxn ang="0">
                          <a:pos x="3" y="24"/>
                        </a:cxn>
                        <a:cxn ang="0">
                          <a:pos x="0" y="22"/>
                        </a:cxn>
                        <a:cxn ang="0">
                          <a:pos x="0" y="22"/>
                        </a:cxn>
                        <a:cxn ang="0">
                          <a:pos x="0" y="15"/>
                        </a:cxn>
                        <a:cxn ang="0">
                          <a:pos x="0" y="15"/>
                        </a:cxn>
                        <a:cxn ang="0">
                          <a:pos x="7" y="3"/>
                        </a:cxn>
                        <a:cxn ang="0">
                          <a:pos x="7" y="3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10" y="0"/>
                        </a:cxn>
                        <a:cxn ang="0">
                          <a:pos x="10" y="0"/>
                        </a:cxn>
                        <a:cxn ang="0">
                          <a:pos x="14" y="5"/>
                        </a:cxn>
                        <a:cxn ang="0">
                          <a:pos x="14" y="5"/>
                        </a:cxn>
                        <a:cxn ang="0">
                          <a:pos x="19" y="12"/>
                        </a:cxn>
                        <a:cxn ang="0">
                          <a:pos x="19" y="12"/>
                        </a:cxn>
                        <a:cxn ang="0">
                          <a:pos x="21" y="17"/>
                        </a:cxn>
                        <a:cxn ang="0">
                          <a:pos x="21" y="17"/>
                        </a:cxn>
                        <a:cxn ang="0">
                          <a:pos x="19" y="19"/>
                        </a:cxn>
                        <a:cxn ang="0">
                          <a:pos x="19" y="19"/>
                        </a:cxn>
                        <a:cxn ang="0">
                          <a:pos x="17" y="24"/>
                        </a:cxn>
                        <a:cxn ang="0">
                          <a:pos x="17" y="24"/>
                        </a:cxn>
                        <a:cxn ang="0">
                          <a:pos x="14" y="26"/>
                        </a:cxn>
                        <a:cxn ang="0">
                          <a:pos x="14" y="26"/>
                        </a:cxn>
                        <a:cxn ang="0">
                          <a:pos x="10" y="29"/>
                        </a:cxn>
                        <a:cxn ang="0">
                          <a:pos x="10" y="29"/>
                        </a:cxn>
                        <a:cxn ang="0">
                          <a:pos x="5" y="26"/>
                        </a:cxn>
                        <a:cxn ang="0">
                          <a:pos x="5" y="26"/>
                        </a:cxn>
                        <a:cxn ang="0">
                          <a:pos x="5" y="26"/>
                        </a:cxn>
                        <a:cxn ang="0">
                          <a:pos x="5" y="26"/>
                        </a:cxn>
                      </a:cxnLst>
                      <a:rect l="0" t="0" r="r" b="b"/>
                      <a:pathLst>
                        <a:path w="21" h="29">
                          <a:moveTo>
                            <a:pt x="5" y="26"/>
                          </a:moveTo>
                          <a:lnTo>
                            <a:pt x="3" y="24"/>
                          </a:lnTo>
                          <a:lnTo>
                            <a:pt x="3" y="24"/>
                          </a:lnTo>
                          <a:lnTo>
                            <a:pt x="0" y="22"/>
                          </a:lnTo>
                          <a:lnTo>
                            <a:pt x="0" y="22"/>
                          </a:lnTo>
                          <a:lnTo>
                            <a:pt x="0" y="15"/>
                          </a:lnTo>
                          <a:lnTo>
                            <a:pt x="0" y="15"/>
                          </a:lnTo>
                          <a:lnTo>
                            <a:pt x="7" y="3"/>
                          </a:lnTo>
                          <a:lnTo>
                            <a:pt x="7" y="3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10" y="0"/>
                          </a:lnTo>
                          <a:lnTo>
                            <a:pt x="10" y="0"/>
                          </a:lnTo>
                          <a:lnTo>
                            <a:pt x="14" y="5"/>
                          </a:lnTo>
                          <a:lnTo>
                            <a:pt x="14" y="5"/>
                          </a:lnTo>
                          <a:lnTo>
                            <a:pt x="19" y="12"/>
                          </a:lnTo>
                          <a:lnTo>
                            <a:pt x="19" y="12"/>
                          </a:lnTo>
                          <a:lnTo>
                            <a:pt x="21" y="17"/>
                          </a:lnTo>
                          <a:lnTo>
                            <a:pt x="21" y="17"/>
                          </a:lnTo>
                          <a:lnTo>
                            <a:pt x="19" y="19"/>
                          </a:lnTo>
                          <a:lnTo>
                            <a:pt x="19" y="19"/>
                          </a:lnTo>
                          <a:lnTo>
                            <a:pt x="17" y="24"/>
                          </a:lnTo>
                          <a:lnTo>
                            <a:pt x="17" y="24"/>
                          </a:lnTo>
                          <a:lnTo>
                            <a:pt x="14" y="26"/>
                          </a:lnTo>
                          <a:lnTo>
                            <a:pt x="14" y="26"/>
                          </a:lnTo>
                          <a:lnTo>
                            <a:pt x="10" y="29"/>
                          </a:lnTo>
                          <a:lnTo>
                            <a:pt x="10" y="29"/>
                          </a:lnTo>
                          <a:lnTo>
                            <a:pt x="5" y="26"/>
                          </a:lnTo>
                          <a:lnTo>
                            <a:pt x="5" y="26"/>
                          </a:lnTo>
                          <a:lnTo>
                            <a:pt x="5" y="26"/>
                          </a:lnTo>
                          <a:lnTo>
                            <a:pt x="5" y="26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23" name="Freeform 1230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4741" y="2801"/>
                      <a:ext cx="5" cy="8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3" y="0"/>
                        </a:cxn>
                        <a:cxn ang="0">
                          <a:pos x="3" y="0"/>
                        </a:cxn>
                        <a:cxn ang="0">
                          <a:pos x="3" y="0"/>
                        </a:cxn>
                        <a:cxn ang="0">
                          <a:pos x="3" y="0"/>
                        </a:cxn>
                        <a:cxn ang="0">
                          <a:pos x="5" y="3"/>
                        </a:cxn>
                        <a:cxn ang="0">
                          <a:pos x="5" y="3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3" y="7"/>
                        </a:cxn>
                        <a:cxn ang="0">
                          <a:pos x="3" y="7"/>
                        </a:cxn>
                        <a:cxn ang="0">
                          <a:pos x="3" y="7"/>
                        </a:cxn>
                        <a:cxn ang="0">
                          <a:pos x="3" y="7"/>
                        </a:cxn>
                        <a:cxn ang="0">
                          <a:pos x="3" y="5"/>
                        </a:cxn>
                        <a:cxn ang="0">
                          <a:pos x="3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</a:cxnLst>
                      <a:rect l="0" t="0" r="r" b="b"/>
                      <a:pathLst>
                        <a:path w="5" h="7">
                          <a:moveTo>
                            <a:pt x="0" y="5"/>
                          </a:move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3" y="0"/>
                          </a:lnTo>
                          <a:lnTo>
                            <a:pt x="3" y="0"/>
                          </a:lnTo>
                          <a:lnTo>
                            <a:pt x="3" y="0"/>
                          </a:lnTo>
                          <a:lnTo>
                            <a:pt x="3" y="0"/>
                          </a:lnTo>
                          <a:lnTo>
                            <a:pt x="5" y="3"/>
                          </a:lnTo>
                          <a:lnTo>
                            <a:pt x="5" y="3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3" y="7"/>
                          </a:lnTo>
                          <a:lnTo>
                            <a:pt x="3" y="7"/>
                          </a:lnTo>
                          <a:lnTo>
                            <a:pt x="3" y="7"/>
                          </a:lnTo>
                          <a:lnTo>
                            <a:pt x="3" y="7"/>
                          </a:lnTo>
                          <a:lnTo>
                            <a:pt x="3" y="5"/>
                          </a:lnTo>
                          <a:lnTo>
                            <a:pt x="3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24" name="Freeform 1231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4768" y="2852"/>
                      <a:ext cx="38" cy="95"/>
                    </a:xfrm>
                    <a:custGeom>
                      <a:avLst/>
                      <a:gdLst/>
                      <a:ahLst/>
                      <a:cxnLst>
                        <a:cxn ang="0">
                          <a:pos x="14" y="81"/>
                        </a:cxn>
                        <a:cxn ang="0">
                          <a:pos x="12" y="64"/>
                        </a:cxn>
                        <a:cxn ang="0">
                          <a:pos x="12" y="55"/>
                        </a:cxn>
                        <a:cxn ang="0">
                          <a:pos x="9" y="52"/>
                        </a:cxn>
                        <a:cxn ang="0">
                          <a:pos x="2" y="36"/>
                        </a:cxn>
                        <a:cxn ang="0">
                          <a:pos x="0" y="29"/>
                        </a:cxn>
                        <a:cxn ang="0">
                          <a:pos x="0" y="19"/>
                        </a:cxn>
                        <a:cxn ang="0">
                          <a:pos x="2" y="3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7" y="0"/>
                        </a:cxn>
                        <a:cxn ang="0">
                          <a:pos x="7" y="3"/>
                        </a:cxn>
                        <a:cxn ang="0">
                          <a:pos x="9" y="3"/>
                        </a:cxn>
                        <a:cxn ang="0">
                          <a:pos x="12" y="10"/>
                        </a:cxn>
                        <a:cxn ang="0">
                          <a:pos x="12" y="10"/>
                        </a:cxn>
                        <a:cxn ang="0">
                          <a:pos x="19" y="10"/>
                        </a:cxn>
                        <a:cxn ang="0">
                          <a:pos x="19" y="10"/>
                        </a:cxn>
                        <a:cxn ang="0">
                          <a:pos x="24" y="12"/>
                        </a:cxn>
                        <a:cxn ang="0">
                          <a:pos x="24" y="12"/>
                        </a:cxn>
                        <a:cxn ang="0">
                          <a:pos x="26" y="19"/>
                        </a:cxn>
                        <a:cxn ang="0">
                          <a:pos x="28" y="19"/>
                        </a:cxn>
                        <a:cxn ang="0">
                          <a:pos x="33" y="31"/>
                        </a:cxn>
                        <a:cxn ang="0">
                          <a:pos x="33" y="33"/>
                        </a:cxn>
                        <a:cxn ang="0">
                          <a:pos x="33" y="43"/>
                        </a:cxn>
                        <a:cxn ang="0">
                          <a:pos x="33" y="50"/>
                        </a:cxn>
                        <a:cxn ang="0">
                          <a:pos x="33" y="59"/>
                        </a:cxn>
                        <a:cxn ang="0">
                          <a:pos x="31" y="74"/>
                        </a:cxn>
                        <a:cxn ang="0">
                          <a:pos x="31" y="76"/>
                        </a:cxn>
                        <a:cxn ang="0">
                          <a:pos x="31" y="76"/>
                        </a:cxn>
                        <a:cxn ang="0">
                          <a:pos x="19" y="83"/>
                        </a:cxn>
                        <a:cxn ang="0">
                          <a:pos x="16" y="83"/>
                        </a:cxn>
                        <a:cxn ang="0">
                          <a:pos x="14" y="83"/>
                        </a:cxn>
                        <a:cxn ang="0">
                          <a:pos x="14" y="83"/>
                        </a:cxn>
                      </a:cxnLst>
                      <a:rect l="0" t="0" r="r" b="b"/>
                      <a:pathLst>
                        <a:path w="33" h="83">
                          <a:moveTo>
                            <a:pt x="14" y="83"/>
                          </a:moveTo>
                          <a:lnTo>
                            <a:pt x="14" y="81"/>
                          </a:lnTo>
                          <a:lnTo>
                            <a:pt x="14" y="81"/>
                          </a:lnTo>
                          <a:lnTo>
                            <a:pt x="12" y="64"/>
                          </a:lnTo>
                          <a:lnTo>
                            <a:pt x="12" y="64"/>
                          </a:lnTo>
                          <a:lnTo>
                            <a:pt x="12" y="55"/>
                          </a:lnTo>
                          <a:lnTo>
                            <a:pt x="12" y="55"/>
                          </a:lnTo>
                          <a:lnTo>
                            <a:pt x="9" y="52"/>
                          </a:lnTo>
                          <a:lnTo>
                            <a:pt x="9" y="52"/>
                          </a:lnTo>
                          <a:lnTo>
                            <a:pt x="2" y="36"/>
                          </a:lnTo>
                          <a:lnTo>
                            <a:pt x="2" y="36"/>
                          </a:lnTo>
                          <a:lnTo>
                            <a:pt x="0" y="29"/>
                          </a:lnTo>
                          <a:lnTo>
                            <a:pt x="0" y="29"/>
                          </a:lnTo>
                          <a:lnTo>
                            <a:pt x="0" y="19"/>
                          </a:lnTo>
                          <a:lnTo>
                            <a:pt x="0" y="19"/>
                          </a:lnTo>
                          <a:lnTo>
                            <a:pt x="2" y="3"/>
                          </a:lnTo>
                          <a:lnTo>
                            <a:pt x="2" y="3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7" y="3"/>
                          </a:lnTo>
                          <a:lnTo>
                            <a:pt x="7" y="3"/>
                          </a:lnTo>
                          <a:lnTo>
                            <a:pt x="9" y="3"/>
                          </a:lnTo>
                          <a:lnTo>
                            <a:pt x="9" y="3"/>
                          </a:lnTo>
                          <a:lnTo>
                            <a:pt x="12" y="10"/>
                          </a:lnTo>
                          <a:lnTo>
                            <a:pt x="12" y="10"/>
                          </a:lnTo>
                          <a:lnTo>
                            <a:pt x="12" y="10"/>
                          </a:lnTo>
                          <a:lnTo>
                            <a:pt x="12" y="10"/>
                          </a:lnTo>
                          <a:lnTo>
                            <a:pt x="19" y="10"/>
                          </a:lnTo>
                          <a:lnTo>
                            <a:pt x="19" y="10"/>
                          </a:lnTo>
                          <a:lnTo>
                            <a:pt x="19" y="10"/>
                          </a:lnTo>
                          <a:lnTo>
                            <a:pt x="19" y="10"/>
                          </a:lnTo>
                          <a:lnTo>
                            <a:pt x="24" y="12"/>
                          </a:lnTo>
                          <a:lnTo>
                            <a:pt x="24" y="12"/>
                          </a:lnTo>
                          <a:lnTo>
                            <a:pt x="24" y="12"/>
                          </a:lnTo>
                          <a:lnTo>
                            <a:pt x="24" y="12"/>
                          </a:lnTo>
                          <a:lnTo>
                            <a:pt x="26" y="19"/>
                          </a:lnTo>
                          <a:lnTo>
                            <a:pt x="26" y="19"/>
                          </a:lnTo>
                          <a:lnTo>
                            <a:pt x="28" y="19"/>
                          </a:lnTo>
                          <a:lnTo>
                            <a:pt x="28" y="19"/>
                          </a:lnTo>
                          <a:lnTo>
                            <a:pt x="33" y="31"/>
                          </a:lnTo>
                          <a:lnTo>
                            <a:pt x="33" y="31"/>
                          </a:lnTo>
                          <a:lnTo>
                            <a:pt x="33" y="33"/>
                          </a:lnTo>
                          <a:lnTo>
                            <a:pt x="33" y="33"/>
                          </a:lnTo>
                          <a:lnTo>
                            <a:pt x="33" y="43"/>
                          </a:lnTo>
                          <a:lnTo>
                            <a:pt x="33" y="43"/>
                          </a:lnTo>
                          <a:lnTo>
                            <a:pt x="33" y="50"/>
                          </a:lnTo>
                          <a:lnTo>
                            <a:pt x="33" y="50"/>
                          </a:lnTo>
                          <a:lnTo>
                            <a:pt x="33" y="59"/>
                          </a:lnTo>
                          <a:lnTo>
                            <a:pt x="33" y="59"/>
                          </a:lnTo>
                          <a:lnTo>
                            <a:pt x="31" y="74"/>
                          </a:lnTo>
                          <a:lnTo>
                            <a:pt x="31" y="74"/>
                          </a:lnTo>
                          <a:lnTo>
                            <a:pt x="31" y="76"/>
                          </a:lnTo>
                          <a:lnTo>
                            <a:pt x="31" y="76"/>
                          </a:lnTo>
                          <a:lnTo>
                            <a:pt x="31" y="76"/>
                          </a:lnTo>
                          <a:lnTo>
                            <a:pt x="31" y="76"/>
                          </a:lnTo>
                          <a:lnTo>
                            <a:pt x="19" y="83"/>
                          </a:lnTo>
                          <a:lnTo>
                            <a:pt x="19" y="83"/>
                          </a:lnTo>
                          <a:lnTo>
                            <a:pt x="16" y="83"/>
                          </a:lnTo>
                          <a:lnTo>
                            <a:pt x="16" y="83"/>
                          </a:lnTo>
                          <a:lnTo>
                            <a:pt x="14" y="83"/>
                          </a:lnTo>
                          <a:lnTo>
                            <a:pt x="14" y="83"/>
                          </a:lnTo>
                          <a:lnTo>
                            <a:pt x="14" y="83"/>
                          </a:lnTo>
                          <a:lnTo>
                            <a:pt x="14" y="83"/>
                          </a:lnTo>
                          <a:close/>
                        </a:path>
                      </a:pathLst>
                    </a:custGeom>
                    <a:solidFill>
                      <a:srgbClr val="0070C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25" name="Freeform 1232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4808" y="3016"/>
                      <a:ext cx="67" cy="103"/>
                    </a:xfrm>
                    <a:custGeom>
                      <a:avLst/>
                      <a:gdLst/>
                      <a:ahLst/>
                      <a:cxnLst>
                        <a:cxn ang="0">
                          <a:pos x="22" y="78"/>
                        </a:cxn>
                        <a:cxn ang="0">
                          <a:pos x="19" y="69"/>
                        </a:cxn>
                        <a:cxn ang="0">
                          <a:pos x="19" y="67"/>
                        </a:cxn>
                        <a:cxn ang="0">
                          <a:pos x="26" y="62"/>
                        </a:cxn>
                        <a:cxn ang="0">
                          <a:pos x="29" y="64"/>
                        </a:cxn>
                        <a:cxn ang="0">
                          <a:pos x="31" y="64"/>
                        </a:cxn>
                        <a:cxn ang="0">
                          <a:pos x="31" y="67"/>
                        </a:cxn>
                        <a:cxn ang="0">
                          <a:pos x="33" y="62"/>
                        </a:cxn>
                        <a:cxn ang="0">
                          <a:pos x="31" y="57"/>
                        </a:cxn>
                        <a:cxn ang="0">
                          <a:pos x="19" y="52"/>
                        </a:cxn>
                        <a:cxn ang="0">
                          <a:pos x="19" y="50"/>
                        </a:cxn>
                        <a:cxn ang="0">
                          <a:pos x="15" y="48"/>
                        </a:cxn>
                        <a:cxn ang="0">
                          <a:pos x="12" y="43"/>
                        </a:cxn>
                        <a:cxn ang="0">
                          <a:pos x="7" y="33"/>
                        </a:cxn>
                        <a:cxn ang="0">
                          <a:pos x="7" y="31"/>
                        </a:cxn>
                        <a:cxn ang="0">
                          <a:pos x="7" y="26"/>
                        </a:cxn>
                        <a:cxn ang="0">
                          <a:pos x="7" y="26"/>
                        </a:cxn>
                        <a:cxn ang="0">
                          <a:pos x="5" y="19"/>
                        </a:cxn>
                        <a:cxn ang="0">
                          <a:pos x="3" y="19"/>
                        </a:cxn>
                        <a:cxn ang="0">
                          <a:pos x="0" y="12"/>
                        </a:cxn>
                        <a:cxn ang="0">
                          <a:pos x="0" y="10"/>
                        </a:cxn>
                        <a:cxn ang="0">
                          <a:pos x="3" y="5"/>
                        </a:cxn>
                        <a:cxn ang="0">
                          <a:pos x="3" y="5"/>
                        </a:cxn>
                        <a:cxn ang="0">
                          <a:pos x="12" y="0"/>
                        </a:cxn>
                        <a:cxn ang="0">
                          <a:pos x="12" y="0"/>
                        </a:cxn>
                        <a:cxn ang="0">
                          <a:pos x="29" y="10"/>
                        </a:cxn>
                        <a:cxn ang="0">
                          <a:pos x="33" y="15"/>
                        </a:cxn>
                        <a:cxn ang="0">
                          <a:pos x="41" y="24"/>
                        </a:cxn>
                        <a:cxn ang="0">
                          <a:pos x="45" y="22"/>
                        </a:cxn>
                        <a:cxn ang="0">
                          <a:pos x="52" y="19"/>
                        </a:cxn>
                        <a:cxn ang="0">
                          <a:pos x="52" y="22"/>
                        </a:cxn>
                        <a:cxn ang="0">
                          <a:pos x="50" y="26"/>
                        </a:cxn>
                        <a:cxn ang="0">
                          <a:pos x="50" y="29"/>
                        </a:cxn>
                        <a:cxn ang="0">
                          <a:pos x="45" y="29"/>
                        </a:cxn>
                        <a:cxn ang="0">
                          <a:pos x="45" y="31"/>
                        </a:cxn>
                        <a:cxn ang="0">
                          <a:pos x="45" y="43"/>
                        </a:cxn>
                        <a:cxn ang="0">
                          <a:pos x="48" y="45"/>
                        </a:cxn>
                        <a:cxn ang="0">
                          <a:pos x="59" y="67"/>
                        </a:cxn>
                        <a:cxn ang="0">
                          <a:pos x="59" y="69"/>
                        </a:cxn>
                        <a:cxn ang="0">
                          <a:pos x="59" y="76"/>
                        </a:cxn>
                        <a:cxn ang="0">
                          <a:pos x="59" y="78"/>
                        </a:cxn>
                        <a:cxn ang="0">
                          <a:pos x="55" y="90"/>
                        </a:cxn>
                        <a:cxn ang="0">
                          <a:pos x="52" y="90"/>
                        </a:cxn>
                        <a:cxn ang="0">
                          <a:pos x="50" y="90"/>
                        </a:cxn>
                        <a:cxn ang="0">
                          <a:pos x="50" y="88"/>
                        </a:cxn>
                        <a:cxn ang="0">
                          <a:pos x="50" y="83"/>
                        </a:cxn>
                        <a:cxn ang="0">
                          <a:pos x="50" y="81"/>
                        </a:cxn>
                        <a:cxn ang="0">
                          <a:pos x="38" y="76"/>
                        </a:cxn>
                        <a:cxn ang="0">
                          <a:pos x="31" y="76"/>
                        </a:cxn>
                        <a:cxn ang="0">
                          <a:pos x="29" y="78"/>
                        </a:cxn>
                        <a:cxn ang="0">
                          <a:pos x="26" y="81"/>
                        </a:cxn>
                        <a:cxn ang="0">
                          <a:pos x="24" y="81"/>
                        </a:cxn>
                        <a:cxn ang="0">
                          <a:pos x="24" y="81"/>
                        </a:cxn>
                      </a:cxnLst>
                      <a:rect l="0" t="0" r="r" b="b"/>
                      <a:pathLst>
                        <a:path w="59" h="90">
                          <a:moveTo>
                            <a:pt x="24" y="81"/>
                          </a:moveTo>
                          <a:lnTo>
                            <a:pt x="22" y="78"/>
                          </a:lnTo>
                          <a:lnTo>
                            <a:pt x="22" y="78"/>
                          </a:lnTo>
                          <a:lnTo>
                            <a:pt x="19" y="71"/>
                          </a:lnTo>
                          <a:lnTo>
                            <a:pt x="19" y="71"/>
                          </a:lnTo>
                          <a:lnTo>
                            <a:pt x="19" y="69"/>
                          </a:lnTo>
                          <a:lnTo>
                            <a:pt x="19" y="69"/>
                          </a:lnTo>
                          <a:lnTo>
                            <a:pt x="19" y="67"/>
                          </a:lnTo>
                          <a:lnTo>
                            <a:pt x="19" y="67"/>
                          </a:lnTo>
                          <a:lnTo>
                            <a:pt x="22" y="64"/>
                          </a:lnTo>
                          <a:lnTo>
                            <a:pt x="22" y="64"/>
                          </a:lnTo>
                          <a:lnTo>
                            <a:pt x="26" y="62"/>
                          </a:lnTo>
                          <a:lnTo>
                            <a:pt x="26" y="62"/>
                          </a:lnTo>
                          <a:lnTo>
                            <a:pt x="29" y="64"/>
                          </a:lnTo>
                          <a:lnTo>
                            <a:pt x="29" y="64"/>
                          </a:lnTo>
                          <a:lnTo>
                            <a:pt x="29" y="64"/>
                          </a:lnTo>
                          <a:lnTo>
                            <a:pt x="29" y="64"/>
                          </a:lnTo>
                          <a:lnTo>
                            <a:pt x="31" y="64"/>
                          </a:lnTo>
                          <a:lnTo>
                            <a:pt x="31" y="64"/>
                          </a:lnTo>
                          <a:lnTo>
                            <a:pt x="31" y="67"/>
                          </a:lnTo>
                          <a:lnTo>
                            <a:pt x="31" y="67"/>
                          </a:lnTo>
                          <a:lnTo>
                            <a:pt x="33" y="64"/>
                          </a:lnTo>
                          <a:lnTo>
                            <a:pt x="33" y="64"/>
                          </a:lnTo>
                          <a:lnTo>
                            <a:pt x="33" y="62"/>
                          </a:lnTo>
                          <a:lnTo>
                            <a:pt x="33" y="62"/>
                          </a:lnTo>
                          <a:lnTo>
                            <a:pt x="31" y="57"/>
                          </a:lnTo>
                          <a:lnTo>
                            <a:pt x="31" y="57"/>
                          </a:lnTo>
                          <a:lnTo>
                            <a:pt x="29" y="55"/>
                          </a:lnTo>
                          <a:lnTo>
                            <a:pt x="29" y="55"/>
                          </a:lnTo>
                          <a:lnTo>
                            <a:pt x="19" y="52"/>
                          </a:lnTo>
                          <a:lnTo>
                            <a:pt x="19" y="52"/>
                          </a:lnTo>
                          <a:lnTo>
                            <a:pt x="19" y="50"/>
                          </a:lnTo>
                          <a:lnTo>
                            <a:pt x="19" y="50"/>
                          </a:lnTo>
                          <a:lnTo>
                            <a:pt x="17" y="48"/>
                          </a:lnTo>
                          <a:lnTo>
                            <a:pt x="17" y="48"/>
                          </a:lnTo>
                          <a:lnTo>
                            <a:pt x="15" y="48"/>
                          </a:lnTo>
                          <a:lnTo>
                            <a:pt x="15" y="48"/>
                          </a:lnTo>
                          <a:lnTo>
                            <a:pt x="12" y="43"/>
                          </a:lnTo>
                          <a:lnTo>
                            <a:pt x="12" y="43"/>
                          </a:lnTo>
                          <a:lnTo>
                            <a:pt x="10" y="38"/>
                          </a:lnTo>
                          <a:lnTo>
                            <a:pt x="10" y="38"/>
                          </a:lnTo>
                          <a:lnTo>
                            <a:pt x="7" y="33"/>
                          </a:lnTo>
                          <a:lnTo>
                            <a:pt x="7" y="33"/>
                          </a:lnTo>
                          <a:lnTo>
                            <a:pt x="7" y="31"/>
                          </a:lnTo>
                          <a:lnTo>
                            <a:pt x="7" y="31"/>
                          </a:lnTo>
                          <a:lnTo>
                            <a:pt x="7" y="29"/>
                          </a:lnTo>
                          <a:lnTo>
                            <a:pt x="7" y="29"/>
                          </a:lnTo>
                          <a:lnTo>
                            <a:pt x="7" y="26"/>
                          </a:lnTo>
                          <a:lnTo>
                            <a:pt x="7" y="26"/>
                          </a:lnTo>
                          <a:lnTo>
                            <a:pt x="7" y="26"/>
                          </a:lnTo>
                          <a:lnTo>
                            <a:pt x="7" y="26"/>
                          </a:lnTo>
                          <a:lnTo>
                            <a:pt x="7" y="24"/>
                          </a:lnTo>
                          <a:lnTo>
                            <a:pt x="7" y="24"/>
                          </a:lnTo>
                          <a:lnTo>
                            <a:pt x="5" y="19"/>
                          </a:lnTo>
                          <a:lnTo>
                            <a:pt x="5" y="19"/>
                          </a:lnTo>
                          <a:lnTo>
                            <a:pt x="3" y="19"/>
                          </a:lnTo>
                          <a:lnTo>
                            <a:pt x="3" y="19"/>
                          </a:lnTo>
                          <a:lnTo>
                            <a:pt x="3" y="17"/>
                          </a:lnTo>
                          <a:lnTo>
                            <a:pt x="3" y="17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10"/>
                          </a:lnTo>
                          <a:lnTo>
                            <a:pt x="0" y="10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3" y="5"/>
                          </a:lnTo>
                          <a:lnTo>
                            <a:pt x="3" y="5"/>
                          </a:lnTo>
                          <a:lnTo>
                            <a:pt x="3" y="5"/>
                          </a:lnTo>
                          <a:lnTo>
                            <a:pt x="3" y="5"/>
                          </a:lnTo>
                          <a:lnTo>
                            <a:pt x="5" y="3"/>
                          </a:lnTo>
                          <a:lnTo>
                            <a:pt x="5" y="3"/>
                          </a:lnTo>
                          <a:lnTo>
                            <a:pt x="12" y="0"/>
                          </a:lnTo>
                          <a:lnTo>
                            <a:pt x="12" y="0"/>
                          </a:lnTo>
                          <a:lnTo>
                            <a:pt x="12" y="0"/>
                          </a:lnTo>
                          <a:lnTo>
                            <a:pt x="12" y="0"/>
                          </a:lnTo>
                          <a:lnTo>
                            <a:pt x="15" y="0"/>
                          </a:lnTo>
                          <a:lnTo>
                            <a:pt x="15" y="0"/>
                          </a:lnTo>
                          <a:lnTo>
                            <a:pt x="29" y="10"/>
                          </a:lnTo>
                          <a:lnTo>
                            <a:pt x="29" y="10"/>
                          </a:lnTo>
                          <a:lnTo>
                            <a:pt x="33" y="15"/>
                          </a:lnTo>
                          <a:lnTo>
                            <a:pt x="33" y="15"/>
                          </a:lnTo>
                          <a:lnTo>
                            <a:pt x="38" y="22"/>
                          </a:lnTo>
                          <a:lnTo>
                            <a:pt x="38" y="22"/>
                          </a:lnTo>
                          <a:lnTo>
                            <a:pt x="41" y="24"/>
                          </a:lnTo>
                          <a:lnTo>
                            <a:pt x="41" y="24"/>
                          </a:lnTo>
                          <a:lnTo>
                            <a:pt x="45" y="22"/>
                          </a:lnTo>
                          <a:lnTo>
                            <a:pt x="45" y="22"/>
                          </a:lnTo>
                          <a:lnTo>
                            <a:pt x="50" y="19"/>
                          </a:lnTo>
                          <a:lnTo>
                            <a:pt x="50" y="19"/>
                          </a:lnTo>
                          <a:lnTo>
                            <a:pt x="52" y="19"/>
                          </a:lnTo>
                          <a:lnTo>
                            <a:pt x="52" y="19"/>
                          </a:lnTo>
                          <a:lnTo>
                            <a:pt x="52" y="22"/>
                          </a:lnTo>
                          <a:lnTo>
                            <a:pt x="52" y="22"/>
                          </a:lnTo>
                          <a:lnTo>
                            <a:pt x="52" y="22"/>
                          </a:lnTo>
                          <a:lnTo>
                            <a:pt x="52" y="22"/>
                          </a:lnTo>
                          <a:lnTo>
                            <a:pt x="50" y="26"/>
                          </a:lnTo>
                          <a:lnTo>
                            <a:pt x="50" y="26"/>
                          </a:lnTo>
                          <a:lnTo>
                            <a:pt x="50" y="29"/>
                          </a:lnTo>
                          <a:lnTo>
                            <a:pt x="50" y="29"/>
                          </a:lnTo>
                          <a:lnTo>
                            <a:pt x="48" y="29"/>
                          </a:lnTo>
                          <a:lnTo>
                            <a:pt x="48" y="29"/>
                          </a:lnTo>
                          <a:lnTo>
                            <a:pt x="45" y="29"/>
                          </a:lnTo>
                          <a:lnTo>
                            <a:pt x="45" y="29"/>
                          </a:lnTo>
                          <a:lnTo>
                            <a:pt x="45" y="31"/>
                          </a:lnTo>
                          <a:lnTo>
                            <a:pt x="45" y="31"/>
                          </a:lnTo>
                          <a:lnTo>
                            <a:pt x="45" y="36"/>
                          </a:lnTo>
                          <a:lnTo>
                            <a:pt x="45" y="36"/>
                          </a:lnTo>
                          <a:lnTo>
                            <a:pt x="45" y="43"/>
                          </a:lnTo>
                          <a:lnTo>
                            <a:pt x="45" y="43"/>
                          </a:lnTo>
                          <a:lnTo>
                            <a:pt x="48" y="45"/>
                          </a:lnTo>
                          <a:lnTo>
                            <a:pt x="48" y="45"/>
                          </a:lnTo>
                          <a:lnTo>
                            <a:pt x="57" y="59"/>
                          </a:lnTo>
                          <a:lnTo>
                            <a:pt x="57" y="59"/>
                          </a:lnTo>
                          <a:lnTo>
                            <a:pt x="59" y="67"/>
                          </a:lnTo>
                          <a:lnTo>
                            <a:pt x="59" y="67"/>
                          </a:lnTo>
                          <a:lnTo>
                            <a:pt x="59" y="69"/>
                          </a:lnTo>
                          <a:lnTo>
                            <a:pt x="59" y="69"/>
                          </a:lnTo>
                          <a:lnTo>
                            <a:pt x="59" y="74"/>
                          </a:lnTo>
                          <a:lnTo>
                            <a:pt x="59" y="74"/>
                          </a:lnTo>
                          <a:lnTo>
                            <a:pt x="59" y="76"/>
                          </a:lnTo>
                          <a:lnTo>
                            <a:pt x="59" y="76"/>
                          </a:lnTo>
                          <a:lnTo>
                            <a:pt x="59" y="78"/>
                          </a:lnTo>
                          <a:lnTo>
                            <a:pt x="59" y="78"/>
                          </a:lnTo>
                          <a:lnTo>
                            <a:pt x="57" y="88"/>
                          </a:lnTo>
                          <a:lnTo>
                            <a:pt x="57" y="88"/>
                          </a:lnTo>
                          <a:lnTo>
                            <a:pt x="55" y="90"/>
                          </a:lnTo>
                          <a:lnTo>
                            <a:pt x="55" y="90"/>
                          </a:lnTo>
                          <a:lnTo>
                            <a:pt x="52" y="90"/>
                          </a:lnTo>
                          <a:lnTo>
                            <a:pt x="52" y="90"/>
                          </a:lnTo>
                          <a:lnTo>
                            <a:pt x="52" y="90"/>
                          </a:lnTo>
                          <a:lnTo>
                            <a:pt x="52" y="90"/>
                          </a:lnTo>
                          <a:lnTo>
                            <a:pt x="50" y="90"/>
                          </a:lnTo>
                          <a:lnTo>
                            <a:pt x="50" y="90"/>
                          </a:lnTo>
                          <a:lnTo>
                            <a:pt x="50" y="88"/>
                          </a:lnTo>
                          <a:lnTo>
                            <a:pt x="50" y="88"/>
                          </a:lnTo>
                          <a:lnTo>
                            <a:pt x="50" y="83"/>
                          </a:lnTo>
                          <a:lnTo>
                            <a:pt x="50" y="83"/>
                          </a:lnTo>
                          <a:lnTo>
                            <a:pt x="50" y="83"/>
                          </a:lnTo>
                          <a:lnTo>
                            <a:pt x="50" y="83"/>
                          </a:lnTo>
                          <a:lnTo>
                            <a:pt x="50" y="81"/>
                          </a:lnTo>
                          <a:lnTo>
                            <a:pt x="50" y="81"/>
                          </a:lnTo>
                          <a:lnTo>
                            <a:pt x="45" y="78"/>
                          </a:lnTo>
                          <a:lnTo>
                            <a:pt x="45" y="78"/>
                          </a:lnTo>
                          <a:lnTo>
                            <a:pt x="38" y="76"/>
                          </a:lnTo>
                          <a:lnTo>
                            <a:pt x="38" y="76"/>
                          </a:lnTo>
                          <a:lnTo>
                            <a:pt x="31" y="76"/>
                          </a:lnTo>
                          <a:lnTo>
                            <a:pt x="31" y="76"/>
                          </a:lnTo>
                          <a:lnTo>
                            <a:pt x="29" y="78"/>
                          </a:lnTo>
                          <a:lnTo>
                            <a:pt x="29" y="78"/>
                          </a:lnTo>
                          <a:lnTo>
                            <a:pt x="29" y="78"/>
                          </a:lnTo>
                          <a:lnTo>
                            <a:pt x="29" y="78"/>
                          </a:lnTo>
                          <a:lnTo>
                            <a:pt x="26" y="81"/>
                          </a:lnTo>
                          <a:lnTo>
                            <a:pt x="26" y="81"/>
                          </a:lnTo>
                          <a:lnTo>
                            <a:pt x="26" y="81"/>
                          </a:lnTo>
                          <a:lnTo>
                            <a:pt x="26" y="81"/>
                          </a:lnTo>
                          <a:lnTo>
                            <a:pt x="24" y="81"/>
                          </a:lnTo>
                          <a:lnTo>
                            <a:pt x="24" y="81"/>
                          </a:lnTo>
                          <a:lnTo>
                            <a:pt x="24" y="81"/>
                          </a:lnTo>
                          <a:lnTo>
                            <a:pt x="24" y="81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26" name="Freeform 1233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4835" y="3183"/>
                      <a:ext cx="32" cy="81"/>
                    </a:xfrm>
                    <a:custGeom>
                      <a:avLst/>
                      <a:gdLst/>
                      <a:ahLst/>
                      <a:cxnLst>
                        <a:cxn ang="0">
                          <a:pos x="7" y="66"/>
                        </a:cxn>
                        <a:cxn ang="0">
                          <a:pos x="5" y="66"/>
                        </a:cxn>
                        <a:cxn ang="0">
                          <a:pos x="5" y="66"/>
                        </a:cxn>
                        <a:cxn ang="0">
                          <a:pos x="0" y="59"/>
                        </a:cxn>
                        <a:cxn ang="0">
                          <a:pos x="0" y="59"/>
                        </a:cxn>
                        <a:cxn ang="0">
                          <a:pos x="0" y="57"/>
                        </a:cxn>
                        <a:cxn ang="0">
                          <a:pos x="0" y="57"/>
                        </a:cxn>
                        <a:cxn ang="0">
                          <a:pos x="0" y="42"/>
                        </a:cxn>
                        <a:cxn ang="0">
                          <a:pos x="0" y="42"/>
                        </a:cxn>
                        <a:cxn ang="0">
                          <a:pos x="2" y="35"/>
                        </a:cxn>
                        <a:cxn ang="0">
                          <a:pos x="2" y="35"/>
                        </a:cxn>
                        <a:cxn ang="0">
                          <a:pos x="2" y="33"/>
                        </a:cxn>
                        <a:cxn ang="0">
                          <a:pos x="2" y="33"/>
                        </a:cxn>
                        <a:cxn ang="0">
                          <a:pos x="5" y="28"/>
                        </a:cxn>
                        <a:cxn ang="0">
                          <a:pos x="5" y="28"/>
                        </a:cxn>
                        <a:cxn ang="0">
                          <a:pos x="12" y="14"/>
                        </a:cxn>
                        <a:cxn ang="0">
                          <a:pos x="12" y="14"/>
                        </a:cxn>
                        <a:cxn ang="0">
                          <a:pos x="14" y="7"/>
                        </a:cxn>
                        <a:cxn ang="0">
                          <a:pos x="14" y="7"/>
                        </a:cxn>
                        <a:cxn ang="0">
                          <a:pos x="14" y="7"/>
                        </a:cxn>
                        <a:cxn ang="0">
                          <a:pos x="14" y="7"/>
                        </a:cxn>
                        <a:cxn ang="0">
                          <a:pos x="17" y="0"/>
                        </a:cxn>
                        <a:cxn ang="0">
                          <a:pos x="17" y="0"/>
                        </a:cxn>
                        <a:cxn ang="0">
                          <a:pos x="19" y="0"/>
                        </a:cxn>
                        <a:cxn ang="0">
                          <a:pos x="19" y="0"/>
                        </a:cxn>
                        <a:cxn ang="0">
                          <a:pos x="21" y="0"/>
                        </a:cxn>
                        <a:cxn ang="0">
                          <a:pos x="21" y="0"/>
                        </a:cxn>
                        <a:cxn ang="0">
                          <a:pos x="21" y="0"/>
                        </a:cxn>
                        <a:cxn ang="0">
                          <a:pos x="21" y="0"/>
                        </a:cxn>
                        <a:cxn ang="0">
                          <a:pos x="26" y="7"/>
                        </a:cxn>
                        <a:cxn ang="0">
                          <a:pos x="26" y="7"/>
                        </a:cxn>
                        <a:cxn ang="0">
                          <a:pos x="26" y="9"/>
                        </a:cxn>
                        <a:cxn ang="0">
                          <a:pos x="26" y="9"/>
                        </a:cxn>
                        <a:cxn ang="0">
                          <a:pos x="28" y="21"/>
                        </a:cxn>
                        <a:cxn ang="0">
                          <a:pos x="28" y="21"/>
                        </a:cxn>
                        <a:cxn ang="0">
                          <a:pos x="28" y="31"/>
                        </a:cxn>
                        <a:cxn ang="0">
                          <a:pos x="28" y="31"/>
                        </a:cxn>
                        <a:cxn ang="0">
                          <a:pos x="26" y="33"/>
                        </a:cxn>
                        <a:cxn ang="0">
                          <a:pos x="26" y="33"/>
                        </a:cxn>
                        <a:cxn ang="0">
                          <a:pos x="28" y="42"/>
                        </a:cxn>
                        <a:cxn ang="0">
                          <a:pos x="28" y="42"/>
                        </a:cxn>
                        <a:cxn ang="0">
                          <a:pos x="28" y="42"/>
                        </a:cxn>
                        <a:cxn ang="0">
                          <a:pos x="28" y="42"/>
                        </a:cxn>
                        <a:cxn ang="0">
                          <a:pos x="28" y="45"/>
                        </a:cxn>
                        <a:cxn ang="0">
                          <a:pos x="28" y="45"/>
                        </a:cxn>
                        <a:cxn ang="0">
                          <a:pos x="26" y="52"/>
                        </a:cxn>
                        <a:cxn ang="0">
                          <a:pos x="26" y="52"/>
                        </a:cxn>
                        <a:cxn ang="0">
                          <a:pos x="26" y="61"/>
                        </a:cxn>
                        <a:cxn ang="0">
                          <a:pos x="26" y="61"/>
                        </a:cxn>
                        <a:cxn ang="0">
                          <a:pos x="24" y="64"/>
                        </a:cxn>
                        <a:cxn ang="0">
                          <a:pos x="24" y="64"/>
                        </a:cxn>
                        <a:cxn ang="0">
                          <a:pos x="17" y="71"/>
                        </a:cxn>
                        <a:cxn ang="0">
                          <a:pos x="17" y="71"/>
                        </a:cxn>
                        <a:cxn ang="0">
                          <a:pos x="7" y="66"/>
                        </a:cxn>
                        <a:cxn ang="0">
                          <a:pos x="7" y="66"/>
                        </a:cxn>
                        <a:cxn ang="0">
                          <a:pos x="7" y="66"/>
                        </a:cxn>
                        <a:cxn ang="0">
                          <a:pos x="7" y="66"/>
                        </a:cxn>
                      </a:cxnLst>
                      <a:rect l="0" t="0" r="r" b="b"/>
                      <a:pathLst>
                        <a:path w="28" h="71">
                          <a:moveTo>
                            <a:pt x="7" y="66"/>
                          </a:moveTo>
                          <a:lnTo>
                            <a:pt x="5" y="66"/>
                          </a:lnTo>
                          <a:lnTo>
                            <a:pt x="5" y="66"/>
                          </a:lnTo>
                          <a:lnTo>
                            <a:pt x="0" y="59"/>
                          </a:lnTo>
                          <a:lnTo>
                            <a:pt x="0" y="59"/>
                          </a:lnTo>
                          <a:lnTo>
                            <a:pt x="0" y="57"/>
                          </a:lnTo>
                          <a:lnTo>
                            <a:pt x="0" y="57"/>
                          </a:lnTo>
                          <a:lnTo>
                            <a:pt x="0" y="42"/>
                          </a:lnTo>
                          <a:lnTo>
                            <a:pt x="0" y="42"/>
                          </a:lnTo>
                          <a:lnTo>
                            <a:pt x="2" y="35"/>
                          </a:lnTo>
                          <a:lnTo>
                            <a:pt x="2" y="35"/>
                          </a:lnTo>
                          <a:lnTo>
                            <a:pt x="2" y="33"/>
                          </a:lnTo>
                          <a:lnTo>
                            <a:pt x="2" y="33"/>
                          </a:lnTo>
                          <a:lnTo>
                            <a:pt x="5" y="28"/>
                          </a:lnTo>
                          <a:lnTo>
                            <a:pt x="5" y="28"/>
                          </a:lnTo>
                          <a:lnTo>
                            <a:pt x="12" y="14"/>
                          </a:lnTo>
                          <a:lnTo>
                            <a:pt x="12" y="14"/>
                          </a:lnTo>
                          <a:lnTo>
                            <a:pt x="14" y="7"/>
                          </a:lnTo>
                          <a:lnTo>
                            <a:pt x="14" y="7"/>
                          </a:lnTo>
                          <a:lnTo>
                            <a:pt x="14" y="7"/>
                          </a:lnTo>
                          <a:lnTo>
                            <a:pt x="14" y="7"/>
                          </a:lnTo>
                          <a:lnTo>
                            <a:pt x="17" y="0"/>
                          </a:lnTo>
                          <a:lnTo>
                            <a:pt x="17" y="0"/>
                          </a:lnTo>
                          <a:lnTo>
                            <a:pt x="19" y="0"/>
                          </a:lnTo>
                          <a:lnTo>
                            <a:pt x="19" y="0"/>
                          </a:lnTo>
                          <a:lnTo>
                            <a:pt x="21" y="0"/>
                          </a:lnTo>
                          <a:lnTo>
                            <a:pt x="21" y="0"/>
                          </a:lnTo>
                          <a:lnTo>
                            <a:pt x="21" y="0"/>
                          </a:lnTo>
                          <a:lnTo>
                            <a:pt x="21" y="0"/>
                          </a:lnTo>
                          <a:lnTo>
                            <a:pt x="26" y="7"/>
                          </a:lnTo>
                          <a:lnTo>
                            <a:pt x="26" y="7"/>
                          </a:lnTo>
                          <a:lnTo>
                            <a:pt x="26" y="9"/>
                          </a:lnTo>
                          <a:lnTo>
                            <a:pt x="26" y="9"/>
                          </a:lnTo>
                          <a:lnTo>
                            <a:pt x="28" y="21"/>
                          </a:lnTo>
                          <a:lnTo>
                            <a:pt x="28" y="21"/>
                          </a:lnTo>
                          <a:lnTo>
                            <a:pt x="28" y="31"/>
                          </a:lnTo>
                          <a:lnTo>
                            <a:pt x="28" y="31"/>
                          </a:lnTo>
                          <a:lnTo>
                            <a:pt x="26" y="33"/>
                          </a:lnTo>
                          <a:lnTo>
                            <a:pt x="26" y="33"/>
                          </a:lnTo>
                          <a:lnTo>
                            <a:pt x="28" y="42"/>
                          </a:lnTo>
                          <a:lnTo>
                            <a:pt x="28" y="42"/>
                          </a:lnTo>
                          <a:lnTo>
                            <a:pt x="28" y="42"/>
                          </a:lnTo>
                          <a:lnTo>
                            <a:pt x="28" y="42"/>
                          </a:lnTo>
                          <a:lnTo>
                            <a:pt x="28" y="45"/>
                          </a:lnTo>
                          <a:lnTo>
                            <a:pt x="28" y="45"/>
                          </a:lnTo>
                          <a:lnTo>
                            <a:pt x="26" y="52"/>
                          </a:lnTo>
                          <a:lnTo>
                            <a:pt x="26" y="52"/>
                          </a:lnTo>
                          <a:lnTo>
                            <a:pt x="26" y="61"/>
                          </a:lnTo>
                          <a:lnTo>
                            <a:pt x="26" y="61"/>
                          </a:lnTo>
                          <a:lnTo>
                            <a:pt x="24" y="64"/>
                          </a:lnTo>
                          <a:lnTo>
                            <a:pt x="24" y="64"/>
                          </a:lnTo>
                          <a:lnTo>
                            <a:pt x="17" y="71"/>
                          </a:lnTo>
                          <a:lnTo>
                            <a:pt x="17" y="71"/>
                          </a:lnTo>
                          <a:lnTo>
                            <a:pt x="7" y="66"/>
                          </a:lnTo>
                          <a:lnTo>
                            <a:pt x="7" y="66"/>
                          </a:lnTo>
                          <a:lnTo>
                            <a:pt x="7" y="66"/>
                          </a:lnTo>
                          <a:lnTo>
                            <a:pt x="7" y="66"/>
                          </a:lnTo>
                          <a:close/>
                        </a:path>
                      </a:pathLst>
                    </a:custGeom>
                    <a:solidFill>
                      <a:srgbClr val="92D05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27" name="Freeform 1234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4800" y="3339"/>
                      <a:ext cx="27" cy="54"/>
                    </a:xfrm>
                    <a:custGeom>
                      <a:avLst/>
                      <a:gdLst/>
                      <a:ahLst/>
                      <a:cxnLst>
                        <a:cxn ang="0">
                          <a:pos x="7" y="45"/>
                        </a:cxn>
                        <a:cxn ang="0">
                          <a:pos x="3" y="38"/>
                        </a:cxn>
                        <a:cxn ang="0">
                          <a:pos x="3" y="38"/>
                        </a:cxn>
                        <a:cxn ang="0">
                          <a:pos x="0" y="33"/>
                        </a:cxn>
                        <a:cxn ang="0">
                          <a:pos x="0" y="33"/>
                        </a:cxn>
                        <a:cxn ang="0">
                          <a:pos x="0" y="26"/>
                        </a:cxn>
                        <a:cxn ang="0">
                          <a:pos x="0" y="26"/>
                        </a:cxn>
                        <a:cxn ang="0">
                          <a:pos x="3" y="16"/>
                        </a:cxn>
                        <a:cxn ang="0">
                          <a:pos x="3" y="16"/>
                        </a:cxn>
                        <a:cxn ang="0">
                          <a:pos x="5" y="16"/>
                        </a:cxn>
                        <a:cxn ang="0">
                          <a:pos x="5" y="16"/>
                        </a:cxn>
                        <a:cxn ang="0">
                          <a:pos x="5" y="16"/>
                        </a:cxn>
                        <a:cxn ang="0">
                          <a:pos x="5" y="16"/>
                        </a:cxn>
                        <a:cxn ang="0">
                          <a:pos x="7" y="16"/>
                        </a:cxn>
                        <a:cxn ang="0">
                          <a:pos x="7" y="16"/>
                        </a:cxn>
                        <a:cxn ang="0">
                          <a:pos x="12" y="2"/>
                        </a:cxn>
                        <a:cxn ang="0">
                          <a:pos x="12" y="2"/>
                        </a:cxn>
                        <a:cxn ang="0">
                          <a:pos x="12" y="2"/>
                        </a:cxn>
                        <a:cxn ang="0">
                          <a:pos x="12" y="2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4" y="0"/>
                        </a:cxn>
                        <a:cxn ang="0">
                          <a:pos x="17" y="0"/>
                        </a:cxn>
                        <a:cxn ang="0">
                          <a:pos x="17" y="0"/>
                        </a:cxn>
                        <a:cxn ang="0">
                          <a:pos x="22" y="0"/>
                        </a:cxn>
                        <a:cxn ang="0">
                          <a:pos x="22" y="0"/>
                        </a:cxn>
                        <a:cxn ang="0">
                          <a:pos x="22" y="2"/>
                        </a:cxn>
                        <a:cxn ang="0">
                          <a:pos x="22" y="2"/>
                        </a:cxn>
                        <a:cxn ang="0">
                          <a:pos x="24" y="9"/>
                        </a:cxn>
                        <a:cxn ang="0">
                          <a:pos x="24" y="9"/>
                        </a:cxn>
                        <a:cxn ang="0">
                          <a:pos x="24" y="14"/>
                        </a:cxn>
                        <a:cxn ang="0">
                          <a:pos x="24" y="14"/>
                        </a:cxn>
                        <a:cxn ang="0">
                          <a:pos x="24" y="16"/>
                        </a:cxn>
                        <a:cxn ang="0">
                          <a:pos x="24" y="16"/>
                        </a:cxn>
                        <a:cxn ang="0">
                          <a:pos x="24" y="23"/>
                        </a:cxn>
                        <a:cxn ang="0">
                          <a:pos x="24" y="23"/>
                        </a:cxn>
                        <a:cxn ang="0">
                          <a:pos x="24" y="26"/>
                        </a:cxn>
                        <a:cxn ang="0">
                          <a:pos x="24" y="26"/>
                        </a:cxn>
                        <a:cxn ang="0">
                          <a:pos x="24" y="26"/>
                        </a:cxn>
                        <a:cxn ang="0">
                          <a:pos x="24" y="26"/>
                        </a:cxn>
                        <a:cxn ang="0">
                          <a:pos x="22" y="35"/>
                        </a:cxn>
                        <a:cxn ang="0">
                          <a:pos x="22" y="35"/>
                        </a:cxn>
                        <a:cxn ang="0">
                          <a:pos x="19" y="42"/>
                        </a:cxn>
                        <a:cxn ang="0">
                          <a:pos x="19" y="42"/>
                        </a:cxn>
                        <a:cxn ang="0">
                          <a:pos x="19" y="42"/>
                        </a:cxn>
                        <a:cxn ang="0">
                          <a:pos x="19" y="42"/>
                        </a:cxn>
                        <a:cxn ang="0">
                          <a:pos x="17" y="47"/>
                        </a:cxn>
                        <a:cxn ang="0">
                          <a:pos x="17" y="47"/>
                        </a:cxn>
                        <a:cxn ang="0">
                          <a:pos x="14" y="47"/>
                        </a:cxn>
                        <a:cxn ang="0">
                          <a:pos x="14" y="47"/>
                        </a:cxn>
                        <a:cxn ang="0">
                          <a:pos x="7" y="45"/>
                        </a:cxn>
                        <a:cxn ang="0">
                          <a:pos x="7" y="45"/>
                        </a:cxn>
                        <a:cxn ang="0">
                          <a:pos x="7" y="45"/>
                        </a:cxn>
                        <a:cxn ang="0">
                          <a:pos x="7" y="45"/>
                        </a:cxn>
                      </a:cxnLst>
                      <a:rect l="0" t="0" r="r" b="b"/>
                      <a:pathLst>
                        <a:path w="24" h="47">
                          <a:moveTo>
                            <a:pt x="7" y="45"/>
                          </a:moveTo>
                          <a:lnTo>
                            <a:pt x="3" y="38"/>
                          </a:lnTo>
                          <a:lnTo>
                            <a:pt x="3" y="38"/>
                          </a:lnTo>
                          <a:lnTo>
                            <a:pt x="0" y="33"/>
                          </a:lnTo>
                          <a:lnTo>
                            <a:pt x="0" y="33"/>
                          </a:lnTo>
                          <a:lnTo>
                            <a:pt x="0" y="26"/>
                          </a:lnTo>
                          <a:lnTo>
                            <a:pt x="0" y="26"/>
                          </a:lnTo>
                          <a:lnTo>
                            <a:pt x="3" y="16"/>
                          </a:lnTo>
                          <a:lnTo>
                            <a:pt x="3" y="16"/>
                          </a:lnTo>
                          <a:lnTo>
                            <a:pt x="5" y="16"/>
                          </a:lnTo>
                          <a:lnTo>
                            <a:pt x="5" y="16"/>
                          </a:lnTo>
                          <a:lnTo>
                            <a:pt x="5" y="16"/>
                          </a:lnTo>
                          <a:lnTo>
                            <a:pt x="5" y="16"/>
                          </a:lnTo>
                          <a:lnTo>
                            <a:pt x="7" y="16"/>
                          </a:lnTo>
                          <a:lnTo>
                            <a:pt x="7" y="16"/>
                          </a:lnTo>
                          <a:lnTo>
                            <a:pt x="12" y="2"/>
                          </a:lnTo>
                          <a:lnTo>
                            <a:pt x="12" y="2"/>
                          </a:lnTo>
                          <a:lnTo>
                            <a:pt x="12" y="2"/>
                          </a:lnTo>
                          <a:lnTo>
                            <a:pt x="12" y="2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4" y="0"/>
                          </a:lnTo>
                          <a:lnTo>
                            <a:pt x="17" y="0"/>
                          </a:lnTo>
                          <a:lnTo>
                            <a:pt x="17" y="0"/>
                          </a:lnTo>
                          <a:lnTo>
                            <a:pt x="22" y="0"/>
                          </a:lnTo>
                          <a:lnTo>
                            <a:pt x="22" y="0"/>
                          </a:lnTo>
                          <a:lnTo>
                            <a:pt x="22" y="2"/>
                          </a:lnTo>
                          <a:lnTo>
                            <a:pt x="22" y="2"/>
                          </a:lnTo>
                          <a:lnTo>
                            <a:pt x="24" y="9"/>
                          </a:lnTo>
                          <a:lnTo>
                            <a:pt x="24" y="9"/>
                          </a:lnTo>
                          <a:lnTo>
                            <a:pt x="24" y="14"/>
                          </a:lnTo>
                          <a:lnTo>
                            <a:pt x="24" y="14"/>
                          </a:lnTo>
                          <a:lnTo>
                            <a:pt x="24" y="16"/>
                          </a:lnTo>
                          <a:lnTo>
                            <a:pt x="24" y="16"/>
                          </a:lnTo>
                          <a:lnTo>
                            <a:pt x="24" y="23"/>
                          </a:lnTo>
                          <a:lnTo>
                            <a:pt x="24" y="23"/>
                          </a:lnTo>
                          <a:lnTo>
                            <a:pt x="24" y="26"/>
                          </a:lnTo>
                          <a:lnTo>
                            <a:pt x="24" y="26"/>
                          </a:lnTo>
                          <a:lnTo>
                            <a:pt x="24" y="26"/>
                          </a:lnTo>
                          <a:lnTo>
                            <a:pt x="24" y="26"/>
                          </a:lnTo>
                          <a:lnTo>
                            <a:pt x="22" y="35"/>
                          </a:lnTo>
                          <a:lnTo>
                            <a:pt x="22" y="35"/>
                          </a:lnTo>
                          <a:lnTo>
                            <a:pt x="19" y="42"/>
                          </a:lnTo>
                          <a:lnTo>
                            <a:pt x="19" y="42"/>
                          </a:lnTo>
                          <a:lnTo>
                            <a:pt x="19" y="42"/>
                          </a:lnTo>
                          <a:lnTo>
                            <a:pt x="19" y="42"/>
                          </a:lnTo>
                          <a:lnTo>
                            <a:pt x="17" y="47"/>
                          </a:lnTo>
                          <a:lnTo>
                            <a:pt x="17" y="47"/>
                          </a:lnTo>
                          <a:lnTo>
                            <a:pt x="14" y="47"/>
                          </a:lnTo>
                          <a:lnTo>
                            <a:pt x="14" y="47"/>
                          </a:lnTo>
                          <a:lnTo>
                            <a:pt x="7" y="45"/>
                          </a:lnTo>
                          <a:lnTo>
                            <a:pt x="7" y="45"/>
                          </a:lnTo>
                          <a:lnTo>
                            <a:pt x="7" y="45"/>
                          </a:lnTo>
                          <a:lnTo>
                            <a:pt x="7" y="45"/>
                          </a:lnTo>
                          <a:close/>
                        </a:path>
                      </a:pathLst>
                    </a:custGeom>
                    <a:solidFill>
                      <a:srgbClr val="0070C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28" name="Freeform 1235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4800" y="3409"/>
                      <a:ext cx="13" cy="13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2"/>
                        </a:cxn>
                        <a:cxn ang="0">
                          <a:pos x="0" y="12"/>
                        </a:cxn>
                        <a:cxn ang="0">
                          <a:pos x="0" y="12"/>
                        </a:cxn>
                        <a:cxn ang="0">
                          <a:pos x="0" y="10"/>
                        </a:cxn>
                        <a:cxn ang="0">
                          <a:pos x="0" y="10"/>
                        </a:cxn>
                        <a:cxn ang="0">
                          <a:pos x="3" y="10"/>
                        </a:cxn>
                        <a:cxn ang="0">
                          <a:pos x="3" y="10"/>
                        </a:cxn>
                        <a:cxn ang="0">
                          <a:pos x="5" y="10"/>
                        </a:cxn>
                        <a:cxn ang="0">
                          <a:pos x="5" y="10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7" y="3"/>
                        </a:cxn>
                        <a:cxn ang="0">
                          <a:pos x="7" y="3"/>
                        </a:cxn>
                        <a:cxn ang="0">
                          <a:pos x="12" y="0"/>
                        </a:cxn>
                        <a:cxn ang="0">
                          <a:pos x="12" y="0"/>
                        </a:cxn>
                        <a:cxn ang="0">
                          <a:pos x="12" y="3"/>
                        </a:cxn>
                        <a:cxn ang="0">
                          <a:pos x="12" y="3"/>
                        </a:cxn>
                        <a:cxn ang="0">
                          <a:pos x="12" y="3"/>
                        </a:cxn>
                        <a:cxn ang="0">
                          <a:pos x="12" y="3"/>
                        </a:cxn>
                        <a:cxn ang="0">
                          <a:pos x="10" y="7"/>
                        </a:cxn>
                        <a:cxn ang="0">
                          <a:pos x="10" y="7"/>
                        </a:cxn>
                        <a:cxn ang="0">
                          <a:pos x="7" y="12"/>
                        </a:cxn>
                        <a:cxn ang="0">
                          <a:pos x="7" y="12"/>
                        </a:cxn>
                        <a:cxn ang="0">
                          <a:pos x="5" y="12"/>
                        </a:cxn>
                        <a:cxn ang="0">
                          <a:pos x="5" y="12"/>
                        </a:cxn>
                        <a:cxn ang="0">
                          <a:pos x="0" y="12"/>
                        </a:cxn>
                        <a:cxn ang="0">
                          <a:pos x="0" y="12"/>
                        </a:cxn>
                        <a:cxn ang="0">
                          <a:pos x="0" y="12"/>
                        </a:cxn>
                        <a:cxn ang="0">
                          <a:pos x="0" y="12"/>
                        </a:cxn>
                      </a:cxnLst>
                      <a:rect l="0" t="0" r="r" b="b"/>
                      <a:pathLst>
                        <a:path w="12" h="12">
                          <a:moveTo>
                            <a:pt x="0" y="12"/>
                          </a:move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10"/>
                          </a:lnTo>
                          <a:lnTo>
                            <a:pt x="0" y="10"/>
                          </a:lnTo>
                          <a:lnTo>
                            <a:pt x="3" y="10"/>
                          </a:lnTo>
                          <a:lnTo>
                            <a:pt x="3" y="10"/>
                          </a:lnTo>
                          <a:lnTo>
                            <a:pt x="5" y="10"/>
                          </a:lnTo>
                          <a:lnTo>
                            <a:pt x="5" y="10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7" y="3"/>
                          </a:lnTo>
                          <a:lnTo>
                            <a:pt x="7" y="3"/>
                          </a:lnTo>
                          <a:lnTo>
                            <a:pt x="12" y="0"/>
                          </a:lnTo>
                          <a:lnTo>
                            <a:pt x="12" y="0"/>
                          </a:lnTo>
                          <a:lnTo>
                            <a:pt x="12" y="3"/>
                          </a:lnTo>
                          <a:lnTo>
                            <a:pt x="12" y="3"/>
                          </a:lnTo>
                          <a:lnTo>
                            <a:pt x="12" y="3"/>
                          </a:lnTo>
                          <a:lnTo>
                            <a:pt x="12" y="3"/>
                          </a:lnTo>
                          <a:lnTo>
                            <a:pt x="10" y="7"/>
                          </a:lnTo>
                          <a:lnTo>
                            <a:pt x="10" y="7"/>
                          </a:lnTo>
                          <a:lnTo>
                            <a:pt x="7" y="12"/>
                          </a:lnTo>
                          <a:lnTo>
                            <a:pt x="7" y="12"/>
                          </a:lnTo>
                          <a:lnTo>
                            <a:pt x="5" y="12"/>
                          </a:lnTo>
                          <a:lnTo>
                            <a:pt x="5" y="12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29" name="Freeform 1236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4790" y="3476"/>
                      <a:ext cx="5" cy="8"/>
                    </a:xfrm>
                    <a:custGeom>
                      <a:avLst/>
                      <a:gdLst/>
                      <a:ahLst/>
                      <a:cxnLst>
                        <a:cxn ang="0">
                          <a:pos x="2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0" y="5"/>
                        </a:cxn>
                        <a:cxn ang="0">
                          <a:pos x="0" y="5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5" y="3"/>
                        </a:cxn>
                        <a:cxn ang="0">
                          <a:pos x="5" y="3"/>
                        </a:cxn>
                        <a:cxn ang="0">
                          <a:pos x="5" y="3"/>
                        </a:cxn>
                        <a:cxn ang="0">
                          <a:pos x="5" y="3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  <a:cxn ang="0">
                          <a:pos x="2" y="7"/>
                        </a:cxn>
                      </a:cxnLst>
                      <a:rect l="0" t="0" r="r" b="b"/>
                      <a:pathLst>
                        <a:path w="5" h="7">
                          <a:moveTo>
                            <a:pt x="2" y="7"/>
                          </a:move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7"/>
                          </a:lnTo>
                          <a:lnTo>
                            <a:pt x="0" y="5"/>
                          </a:lnTo>
                          <a:lnTo>
                            <a:pt x="0" y="5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5" y="3"/>
                          </a:lnTo>
                          <a:lnTo>
                            <a:pt x="5" y="3"/>
                          </a:lnTo>
                          <a:lnTo>
                            <a:pt x="5" y="3"/>
                          </a:lnTo>
                          <a:lnTo>
                            <a:pt x="5" y="3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lnTo>
                            <a:pt x="2" y="7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30" name="Freeform 1237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4770" y="3503"/>
                      <a:ext cx="8" cy="6"/>
                    </a:xfrm>
                    <a:custGeom>
                      <a:avLst/>
                      <a:gdLst/>
                      <a:ahLst/>
                      <a:cxnLst>
                        <a:cxn ang="0">
                          <a:pos x="3" y="5"/>
                        </a:cxn>
                        <a:cxn ang="0">
                          <a:pos x="3" y="5"/>
                        </a:cxn>
                        <a:cxn ang="0">
                          <a:pos x="3" y="5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3" y="0"/>
                        </a:cxn>
                        <a:cxn ang="0">
                          <a:pos x="3" y="0"/>
                        </a:cxn>
                        <a:cxn ang="0">
                          <a:pos x="3" y="0"/>
                        </a:cxn>
                        <a:cxn ang="0">
                          <a:pos x="3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3" y="5"/>
                        </a:cxn>
                        <a:cxn ang="0">
                          <a:pos x="3" y="5"/>
                        </a:cxn>
                        <a:cxn ang="0">
                          <a:pos x="3" y="5"/>
                        </a:cxn>
                        <a:cxn ang="0">
                          <a:pos x="3" y="5"/>
                        </a:cxn>
                        <a:cxn ang="0">
                          <a:pos x="3" y="5"/>
                        </a:cxn>
                        <a:cxn ang="0">
                          <a:pos x="3" y="5"/>
                        </a:cxn>
                      </a:cxnLst>
                      <a:rect l="0" t="0" r="r" b="b"/>
                      <a:pathLst>
                        <a:path w="7" h="5">
                          <a:moveTo>
                            <a:pt x="3" y="5"/>
                          </a:moveTo>
                          <a:lnTo>
                            <a:pt x="3" y="5"/>
                          </a:lnTo>
                          <a:lnTo>
                            <a:pt x="3" y="5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3" y="0"/>
                          </a:lnTo>
                          <a:lnTo>
                            <a:pt x="3" y="0"/>
                          </a:lnTo>
                          <a:lnTo>
                            <a:pt x="3" y="0"/>
                          </a:lnTo>
                          <a:lnTo>
                            <a:pt x="3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3" y="5"/>
                          </a:lnTo>
                          <a:lnTo>
                            <a:pt x="3" y="5"/>
                          </a:lnTo>
                          <a:lnTo>
                            <a:pt x="3" y="5"/>
                          </a:lnTo>
                          <a:lnTo>
                            <a:pt x="3" y="5"/>
                          </a:lnTo>
                          <a:lnTo>
                            <a:pt x="3" y="5"/>
                          </a:lnTo>
                          <a:lnTo>
                            <a:pt x="3" y="5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31" name="Freeform 1238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4766" y="3519"/>
                      <a:ext cx="12" cy="21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9"/>
                        </a:cxn>
                        <a:cxn ang="0">
                          <a:pos x="0" y="19"/>
                        </a:cxn>
                        <a:cxn ang="0">
                          <a:pos x="0" y="19"/>
                        </a:cxn>
                        <a:cxn ang="0">
                          <a:pos x="0" y="17"/>
                        </a:cxn>
                        <a:cxn ang="0">
                          <a:pos x="0" y="17"/>
                        </a:cxn>
                        <a:cxn ang="0">
                          <a:pos x="0" y="12"/>
                        </a:cxn>
                        <a:cxn ang="0">
                          <a:pos x="0" y="12"/>
                        </a:cxn>
                        <a:cxn ang="0">
                          <a:pos x="0" y="12"/>
                        </a:cxn>
                        <a:cxn ang="0">
                          <a:pos x="0" y="12"/>
                        </a:cxn>
                        <a:cxn ang="0">
                          <a:pos x="2" y="12"/>
                        </a:cxn>
                        <a:cxn ang="0">
                          <a:pos x="2" y="12"/>
                        </a:cxn>
                        <a:cxn ang="0">
                          <a:pos x="2" y="12"/>
                        </a:cxn>
                        <a:cxn ang="0">
                          <a:pos x="2" y="12"/>
                        </a:cxn>
                        <a:cxn ang="0">
                          <a:pos x="4" y="10"/>
                        </a:cxn>
                        <a:cxn ang="0">
                          <a:pos x="4" y="10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7" y="3"/>
                        </a:cxn>
                        <a:cxn ang="0">
                          <a:pos x="7" y="3"/>
                        </a:cxn>
                        <a:cxn ang="0">
                          <a:pos x="9" y="0"/>
                        </a:cxn>
                        <a:cxn ang="0">
                          <a:pos x="9" y="0"/>
                        </a:cxn>
                        <a:cxn ang="0">
                          <a:pos x="9" y="3"/>
                        </a:cxn>
                        <a:cxn ang="0">
                          <a:pos x="9" y="3"/>
                        </a:cxn>
                        <a:cxn ang="0">
                          <a:pos x="11" y="7"/>
                        </a:cxn>
                        <a:cxn ang="0">
                          <a:pos x="11" y="7"/>
                        </a:cxn>
                        <a:cxn ang="0">
                          <a:pos x="9" y="14"/>
                        </a:cxn>
                        <a:cxn ang="0">
                          <a:pos x="9" y="14"/>
                        </a:cxn>
                        <a:cxn ang="0">
                          <a:pos x="9" y="14"/>
                        </a:cxn>
                        <a:cxn ang="0">
                          <a:pos x="9" y="14"/>
                        </a:cxn>
                        <a:cxn ang="0">
                          <a:pos x="4" y="17"/>
                        </a:cxn>
                        <a:cxn ang="0">
                          <a:pos x="4" y="17"/>
                        </a:cxn>
                        <a:cxn ang="0">
                          <a:pos x="2" y="17"/>
                        </a:cxn>
                        <a:cxn ang="0">
                          <a:pos x="2" y="17"/>
                        </a:cxn>
                        <a:cxn ang="0">
                          <a:pos x="2" y="17"/>
                        </a:cxn>
                        <a:cxn ang="0">
                          <a:pos x="2" y="17"/>
                        </a:cxn>
                        <a:cxn ang="0">
                          <a:pos x="0" y="19"/>
                        </a:cxn>
                        <a:cxn ang="0">
                          <a:pos x="0" y="19"/>
                        </a:cxn>
                        <a:cxn ang="0">
                          <a:pos x="0" y="19"/>
                        </a:cxn>
                        <a:cxn ang="0">
                          <a:pos x="0" y="19"/>
                        </a:cxn>
                      </a:cxnLst>
                      <a:rect l="0" t="0" r="r" b="b"/>
                      <a:pathLst>
                        <a:path w="11" h="19">
                          <a:moveTo>
                            <a:pt x="0" y="19"/>
                          </a:moveTo>
                          <a:lnTo>
                            <a:pt x="0" y="19"/>
                          </a:lnTo>
                          <a:lnTo>
                            <a:pt x="0" y="19"/>
                          </a:lnTo>
                          <a:lnTo>
                            <a:pt x="0" y="17"/>
                          </a:lnTo>
                          <a:lnTo>
                            <a:pt x="0" y="17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2" y="12"/>
                          </a:lnTo>
                          <a:lnTo>
                            <a:pt x="2" y="12"/>
                          </a:lnTo>
                          <a:lnTo>
                            <a:pt x="2" y="12"/>
                          </a:lnTo>
                          <a:lnTo>
                            <a:pt x="2" y="12"/>
                          </a:lnTo>
                          <a:lnTo>
                            <a:pt x="4" y="10"/>
                          </a:lnTo>
                          <a:lnTo>
                            <a:pt x="4" y="10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7" y="3"/>
                          </a:lnTo>
                          <a:lnTo>
                            <a:pt x="7" y="3"/>
                          </a:lnTo>
                          <a:lnTo>
                            <a:pt x="9" y="0"/>
                          </a:lnTo>
                          <a:lnTo>
                            <a:pt x="9" y="0"/>
                          </a:lnTo>
                          <a:lnTo>
                            <a:pt x="9" y="3"/>
                          </a:lnTo>
                          <a:lnTo>
                            <a:pt x="9" y="3"/>
                          </a:lnTo>
                          <a:lnTo>
                            <a:pt x="11" y="7"/>
                          </a:lnTo>
                          <a:lnTo>
                            <a:pt x="11" y="7"/>
                          </a:lnTo>
                          <a:lnTo>
                            <a:pt x="9" y="14"/>
                          </a:lnTo>
                          <a:lnTo>
                            <a:pt x="9" y="14"/>
                          </a:lnTo>
                          <a:lnTo>
                            <a:pt x="9" y="14"/>
                          </a:lnTo>
                          <a:lnTo>
                            <a:pt x="9" y="14"/>
                          </a:lnTo>
                          <a:lnTo>
                            <a:pt x="4" y="17"/>
                          </a:lnTo>
                          <a:lnTo>
                            <a:pt x="4" y="17"/>
                          </a:lnTo>
                          <a:lnTo>
                            <a:pt x="2" y="17"/>
                          </a:lnTo>
                          <a:lnTo>
                            <a:pt x="2" y="17"/>
                          </a:lnTo>
                          <a:lnTo>
                            <a:pt x="2" y="17"/>
                          </a:lnTo>
                          <a:lnTo>
                            <a:pt x="2" y="17"/>
                          </a:lnTo>
                          <a:lnTo>
                            <a:pt x="0" y="19"/>
                          </a:lnTo>
                          <a:lnTo>
                            <a:pt x="0" y="19"/>
                          </a:lnTo>
                          <a:lnTo>
                            <a:pt x="0" y="19"/>
                          </a:lnTo>
                          <a:lnTo>
                            <a:pt x="0" y="19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32" name="Freeform 1239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4717" y="3584"/>
                      <a:ext cx="32" cy="51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45"/>
                        </a:cxn>
                        <a:cxn ang="0">
                          <a:pos x="0" y="42"/>
                        </a:cxn>
                        <a:cxn ang="0">
                          <a:pos x="0" y="42"/>
                        </a:cxn>
                        <a:cxn ang="0">
                          <a:pos x="2" y="40"/>
                        </a:cxn>
                        <a:cxn ang="0">
                          <a:pos x="2" y="40"/>
                        </a:cxn>
                        <a:cxn ang="0">
                          <a:pos x="7" y="35"/>
                        </a:cxn>
                        <a:cxn ang="0">
                          <a:pos x="7" y="35"/>
                        </a:cxn>
                        <a:cxn ang="0">
                          <a:pos x="5" y="33"/>
                        </a:cxn>
                        <a:cxn ang="0">
                          <a:pos x="5" y="33"/>
                        </a:cxn>
                        <a:cxn ang="0">
                          <a:pos x="5" y="28"/>
                        </a:cxn>
                        <a:cxn ang="0">
                          <a:pos x="5" y="28"/>
                        </a:cxn>
                        <a:cxn ang="0">
                          <a:pos x="5" y="28"/>
                        </a:cxn>
                        <a:cxn ang="0">
                          <a:pos x="5" y="28"/>
                        </a:cxn>
                        <a:cxn ang="0">
                          <a:pos x="7" y="19"/>
                        </a:cxn>
                        <a:cxn ang="0">
                          <a:pos x="7" y="19"/>
                        </a:cxn>
                        <a:cxn ang="0">
                          <a:pos x="10" y="9"/>
                        </a:cxn>
                        <a:cxn ang="0">
                          <a:pos x="10" y="9"/>
                        </a:cxn>
                        <a:cxn ang="0">
                          <a:pos x="14" y="5"/>
                        </a:cxn>
                        <a:cxn ang="0">
                          <a:pos x="14" y="5"/>
                        </a:cxn>
                        <a:cxn ang="0">
                          <a:pos x="19" y="0"/>
                        </a:cxn>
                        <a:cxn ang="0">
                          <a:pos x="19" y="0"/>
                        </a:cxn>
                        <a:cxn ang="0">
                          <a:pos x="26" y="2"/>
                        </a:cxn>
                        <a:cxn ang="0">
                          <a:pos x="26" y="2"/>
                        </a:cxn>
                        <a:cxn ang="0">
                          <a:pos x="26" y="2"/>
                        </a:cxn>
                        <a:cxn ang="0">
                          <a:pos x="26" y="2"/>
                        </a:cxn>
                        <a:cxn ang="0">
                          <a:pos x="28" y="12"/>
                        </a:cxn>
                        <a:cxn ang="0">
                          <a:pos x="28" y="12"/>
                        </a:cxn>
                        <a:cxn ang="0">
                          <a:pos x="26" y="14"/>
                        </a:cxn>
                        <a:cxn ang="0">
                          <a:pos x="26" y="14"/>
                        </a:cxn>
                        <a:cxn ang="0">
                          <a:pos x="26" y="19"/>
                        </a:cxn>
                        <a:cxn ang="0">
                          <a:pos x="26" y="19"/>
                        </a:cxn>
                        <a:cxn ang="0">
                          <a:pos x="26" y="19"/>
                        </a:cxn>
                        <a:cxn ang="0">
                          <a:pos x="26" y="19"/>
                        </a:cxn>
                        <a:cxn ang="0">
                          <a:pos x="28" y="21"/>
                        </a:cxn>
                        <a:cxn ang="0">
                          <a:pos x="28" y="21"/>
                        </a:cxn>
                        <a:cxn ang="0">
                          <a:pos x="28" y="21"/>
                        </a:cxn>
                        <a:cxn ang="0">
                          <a:pos x="28" y="21"/>
                        </a:cxn>
                        <a:cxn ang="0">
                          <a:pos x="26" y="21"/>
                        </a:cxn>
                        <a:cxn ang="0">
                          <a:pos x="26" y="21"/>
                        </a:cxn>
                        <a:cxn ang="0">
                          <a:pos x="24" y="21"/>
                        </a:cxn>
                        <a:cxn ang="0">
                          <a:pos x="24" y="21"/>
                        </a:cxn>
                        <a:cxn ang="0">
                          <a:pos x="24" y="23"/>
                        </a:cxn>
                        <a:cxn ang="0">
                          <a:pos x="24" y="23"/>
                        </a:cxn>
                        <a:cxn ang="0">
                          <a:pos x="24" y="26"/>
                        </a:cxn>
                        <a:cxn ang="0">
                          <a:pos x="24" y="26"/>
                        </a:cxn>
                        <a:cxn ang="0">
                          <a:pos x="24" y="31"/>
                        </a:cxn>
                        <a:cxn ang="0">
                          <a:pos x="24" y="31"/>
                        </a:cxn>
                        <a:cxn ang="0">
                          <a:pos x="24" y="35"/>
                        </a:cxn>
                        <a:cxn ang="0">
                          <a:pos x="24" y="35"/>
                        </a:cxn>
                        <a:cxn ang="0">
                          <a:pos x="19" y="40"/>
                        </a:cxn>
                        <a:cxn ang="0">
                          <a:pos x="19" y="40"/>
                        </a:cxn>
                        <a:cxn ang="0">
                          <a:pos x="17" y="42"/>
                        </a:cxn>
                        <a:cxn ang="0">
                          <a:pos x="17" y="42"/>
                        </a:cxn>
                        <a:cxn ang="0">
                          <a:pos x="12" y="45"/>
                        </a:cxn>
                        <a:cxn ang="0">
                          <a:pos x="12" y="45"/>
                        </a:cxn>
                        <a:cxn ang="0">
                          <a:pos x="5" y="45"/>
                        </a:cxn>
                        <a:cxn ang="0">
                          <a:pos x="5" y="45"/>
                        </a:cxn>
                        <a:cxn ang="0">
                          <a:pos x="0" y="45"/>
                        </a:cxn>
                        <a:cxn ang="0">
                          <a:pos x="0" y="45"/>
                        </a:cxn>
                        <a:cxn ang="0">
                          <a:pos x="0" y="45"/>
                        </a:cxn>
                        <a:cxn ang="0">
                          <a:pos x="0" y="45"/>
                        </a:cxn>
                      </a:cxnLst>
                      <a:rect l="0" t="0" r="r" b="b"/>
                      <a:pathLst>
                        <a:path w="28" h="45">
                          <a:moveTo>
                            <a:pt x="0" y="45"/>
                          </a:moveTo>
                          <a:lnTo>
                            <a:pt x="0" y="42"/>
                          </a:lnTo>
                          <a:lnTo>
                            <a:pt x="0" y="42"/>
                          </a:lnTo>
                          <a:lnTo>
                            <a:pt x="2" y="40"/>
                          </a:lnTo>
                          <a:lnTo>
                            <a:pt x="2" y="40"/>
                          </a:lnTo>
                          <a:lnTo>
                            <a:pt x="7" y="35"/>
                          </a:lnTo>
                          <a:lnTo>
                            <a:pt x="7" y="35"/>
                          </a:lnTo>
                          <a:lnTo>
                            <a:pt x="5" y="33"/>
                          </a:lnTo>
                          <a:lnTo>
                            <a:pt x="5" y="33"/>
                          </a:lnTo>
                          <a:lnTo>
                            <a:pt x="5" y="28"/>
                          </a:lnTo>
                          <a:lnTo>
                            <a:pt x="5" y="28"/>
                          </a:lnTo>
                          <a:lnTo>
                            <a:pt x="5" y="28"/>
                          </a:lnTo>
                          <a:lnTo>
                            <a:pt x="5" y="28"/>
                          </a:lnTo>
                          <a:lnTo>
                            <a:pt x="7" y="19"/>
                          </a:lnTo>
                          <a:lnTo>
                            <a:pt x="7" y="19"/>
                          </a:lnTo>
                          <a:lnTo>
                            <a:pt x="10" y="9"/>
                          </a:lnTo>
                          <a:lnTo>
                            <a:pt x="10" y="9"/>
                          </a:lnTo>
                          <a:lnTo>
                            <a:pt x="14" y="5"/>
                          </a:lnTo>
                          <a:lnTo>
                            <a:pt x="14" y="5"/>
                          </a:lnTo>
                          <a:lnTo>
                            <a:pt x="19" y="0"/>
                          </a:lnTo>
                          <a:lnTo>
                            <a:pt x="19" y="0"/>
                          </a:lnTo>
                          <a:lnTo>
                            <a:pt x="26" y="2"/>
                          </a:lnTo>
                          <a:lnTo>
                            <a:pt x="26" y="2"/>
                          </a:lnTo>
                          <a:lnTo>
                            <a:pt x="26" y="2"/>
                          </a:lnTo>
                          <a:lnTo>
                            <a:pt x="26" y="2"/>
                          </a:lnTo>
                          <a:lnTo>
                            <a:pt x="28" y="12"/>
                          </a:lnTo>
                          <a:lnTo>
                            <a:pt x="28" y="12"/>
                          </a:lnTo>
                          <a:lnTo>
                            <a:pt x="26" y="14"/>
                          </a:lnTo>
                          <a:lnTo>
                            <a:pt x="26" y="14"/>
                          </a:lnTo>
                          <a:lnTo>
                            <a:pt x="26" y="19"/>
                          </a:lnTo>
                          <a:lnTo>
                            <a:pt x="26" y="19"/>
                          </a:lnTo>
                          <a:lnTo>
                            <a:pt x="26" y="19"/>
                          </a:lnTo>
                          <a:lnTo>
                            <a:pt x="26" y="19"/>
                          </a:lnTo>
                          <a:lnTo>
                            <a:pt x="28" y="21"/>
                          </a:lnTo>
                          <a:lnTo>
                            <a:pt x="28" y="21"/>
                          </a:lnTo>
                          <a:lnTo>
                            <a:pt x="28" y="21"/>
                          </a:lnTo>
                          <a:lnTo>
                            <a:pt x="28" y="21"/>
                          </a:lnTo>
                          <a:lnTo>
                            <a:pt x="26" y="21"/>
                          </a:lnTo>
                          <a:lnTo>
                            <a:pt x="26" y="21"/>
                          </a:lnTo>
                          <a:lnTo>
                            <a:pt x="24" y="21"/>
                          </a:lnTo>
                          <a:lnTo>
                            <a:pt x="24" y="21"/>
                          </a:lnTo>
                          <a:lnTo>
                            <a:pt x="24" y="23"/>
                          </a:lnTo>
                          <a:lnTo>
                            <a:pt x="24" y="23"/>
                          </a:lnTo>
                          <a:lnTo>
                            <a:pt x="24" y="26"/>
                          </a:lnTo>
                          <a:lnTo>
                            <a:pt x="24" y="26"/>
                          </a:lnTo>
                          <a:lnTo>
                            <a:pt x="24" y="31"/>
                          </a:lnTo>
                          <a:lnTo>
                            <a:pt x="24" y="31"/>
                          </a:lnTo>
                          <a:lnTo>
                            <a:pt x="24" y="35"/>
                          </a:lnTo>
                          <a:lnTo>
                            <a:pt x="24" y="35"/>
                          </a:lnTo>
                          <a:lnTo>
                            <a:pt x="19" y="40"/>
                          </a:lnTo>
                          <a:lnTo>
                            <a:pt x="19" y="40"/>
                          </a:lnTo>
                          <a:lnTo>
                            <a:pt x="17" y="42"/>
                          </a:lnTo>
                          <a:lnTo>
                            <a:pt x="17" y="42"/>
                          </a:lnTo>
                          <a:lnTo>
                            <a:pt x="12" y="45"/>
                          </a:lnTo>
                          <a:lnTo>
                            <a:pt x="12" y="45"/>
                          </a:lnTo>
                          <a:lnTo>
                            <a:pt x="5" y="45"/>
                          </a:lnTo>
                          <a:lnTo>
                            <a:pt x="5" y="45"/>
                          </a:lnTo>
                          <a:lnTo>
                            <a:pt x="0" y="45"/>
                          </a:lnTo>
                          <a:lnTo>
                            <a:pt x="0" y="45"/>
                          </a:lnTo>
                          <a:lnTo>
                            <a:pt x="0" y="45"/>
                          </a:lnTo>
                          <a:lnTo>
                            <a:pt x="0" y="45"/>
                          </a:lnTo>
                          <a:close/>
                        </a:path>
                      </a:pathLst>
                    </a:custGeom>
                    <a:solidFill>
                      <a:srgbClr val="FFC000"/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grpSp>
                <p:nvGrpSpPr>
                  <p:cNvPr id="412" name="Group 1249"/>
                  <p:cNvGrpSpPr>
                    <a:grpSpLocks/>
                  </p:cNvGrpSpPr>
                  <p:nvPr/>
                </p:nvGrpSpPr>
                <p:grpSpPr bwMode="auto">
                  <a:xfrm>
                    <a:off x="6097588" y="2679700"/>
                    <a:ext cx="122237" cy="119063"/>
                    <a:chOff x="4228" y="2181"/>
                    <a:chExt cx="83" cy="81"/>
                  </a:xfrm>
                  <a:grpFill/>
                  <a:effectLst/>
                </p:grpSpPr>
                <p:sp>
                  <p:nvSpPr>
                    <p:cNvPr id="416" name="Freeform 1250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4287" y="2181"/>
                      <a:ext cx="24" cy="13"/>
                    </a:xfrm>
                    <a:custGeom>
                      <a:avLst/>
                      <a:gdLst/>
                      <a:ahLst/>
                      <a:cxnLst>
                        <a:cxn ang="0">
                          <a:pos x="2" y="4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0" y="2"/>
                        </a:cxn>
                        <a:cxn ang="0">
                          <a:pos x="2" y="2"/>
                        </a:cxn>
                        <a:cxn ang="0">
                          <a:pos x="2" y="2"/>
                        </a:cxn>
                        <a:cxn ang="0">
                          <a:pos x="7" y="2"/>
                        </a:cxn>
                        <a:cxn ang="0">
                          <a:pos x="7" y="2"/>
                        </a:cxn>
                        <a:cxn ang="0">
                          <a:pos x="10" y="2"/>
                        </a:cxn>
                        <a:cxn ang="0">
                          <a:pos x="10" y="2"/>
                        </a:cxn>
                        <a:cxn ang="0">
                          <a:pos x="12" y="0"/>
                        </a:cxn>
                        <a:cxn ang="0">
                          <a:pos x="12" y="0"/>
                        </a:cxn>
                        <a:cxn ang="0">
                          <a:pos x="12" y="0"/>
                        </a:cxn>
                        <a:cxn ang="0">
                          <a:pos x="12" y="0"/>
                        </a:cxn>
                        <a:cxn ang="0">
                          <a:pos x="14" y="2"/>
                        </a:cxn>
                        <a:cxn ang="0">
                          <a:pos x="14" y="2"/>
                        </a:cxn>
                        <a:cxn ang="0">
                          <a:pos x="19" y="7"/>
                        </a:cxn>
                        <a:cxn ang="0">
                          <a:pos x="19" y="7"/>
                        </a:cxn>
                        <a:cxn ang="0">
                          <a:pos x="19" y="9"/>
                        </a:cxn>
                        <a:cxn ang="0">
                          <a:pos x="19" y="9"/>
                        </a:cxn>
                        <a:cxn ang="0">
                          <a:pos x="21" y="9"/>
                        </a:cxn>
                        <a:cxn ang="0">
                          <a:pos x="21" y="9"/>
                        </a:cxn>
                        <a:cxn ang="0">
                          <a:pos x="21" y="11"/>
                        </a:cxn>
                        <a:cxn ang="0">
                          <a:pos x="21" y="11"/>
                        </a:cxn>
                        <a:cxn ang="0">
                          <a:pos x="21" y="11"/>
                        </a:cxn>
                        <a:cxn ang="0">
                          <a:pos x="21" y="11"/>
                        </a:cxn>
                        <a:cxn ang="0">
                          <a:pos x="19" y="11"/>
                        </a:cxn>
                        <a:cxn ang="0">
                          <a:pos x="19" y="11"/>
                        </a:cxn>
                        <a:cxn ang="0">
                          <a:pos x="19" y="11"/>
                        </a:cxn>
                        <a:cxn ang="0">
                          <a:pos x="19" y="11"/>
                        </a:cxn>
                        <a:cxn ang="0">
                          <a:pos x="17" y="9"/>
                        </a:cxn>
                        <a:cxn ang="0">
                          <a:pos x="17" y="9"/>
                        </a:cxn>
                        <a:cxn ang="0">
                          <a:pos x="14" y="7"/>
                        </a:cxn>
                        <a:cxn ang="0">
                          <a:pos x="14" y="7"/>
                        </a:cxn>
                        <a:cxn ang="0">
                          <a:pos x="12" y="7"/>
                        </a:cxn>
                        <a:cxn ang="0">
                          <a:pos x="12" y="7"/>
                        </a:cxn>
                        <a:cxn ang="0">
                          <a:pos x="7" y="7"/>
                        </a:cxn>
                        <a:cxn ang="0">
                          <a:pos x="7" y="7"/>
                        </a:cxn>
                        <a:cxn ang="0">
                          <a:pos x="2" y="4"/>
                        </a:cxn>
                        <a:cxn ang="0">
                          <a:pos x="2" y="4"/>
                        </a:cxn>
                        <a:cxn ang="0">
                          <a:pos x="2" y="4"/>
                        </a:cxn>
                        <a:cxn ang="0">
                          <a:pos x="2" y="4"/>
                        </a:cxn>
                      </a:cxnLst>
                      <a:rect l="0" t="0" r="r" b="b"/>
                      <a:pathLst>
                        <a:path w="21" h="11">
                          <a:moveTo>
                            <a:pt x="2" y="4"/>
                          </a:move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0" y="2"/>
                          </a:lnTo>
                          <a:lnTo>
                            <a:pt x="2" y="2"/>
                          </a:lnTo>
                          <a:lnTo>
                            <a:pt x="2" y="2"/>
                          </a:lnTo>
                          <a:lnTo>
                            <a:pt x="7" y="2"/>
                          </a:lnTo>
                          <a:lnTo>
                            <a:pt x="7" y="2"/>
                          </a:lnTo>
                          <a:lnTo>
                            <a:pt x="10" y="2"/>
                          </a:lnTo>
                          <a:lnTo>
                            <a:pt x="10" y="2"/>
                          </a:lnTo>
                          <a:lnTo>
                            <a:pt x="12" y="0"/>
                          </a:lnTo>
                          <a:lnTo>
                            <a:pt x="12" y="0"/>
                          </a:lnTo>
                          <a:lnTo>
                            <a:pt x="12" y="0"/>
                          </a:lnTo>
                          <a:lnTo>
                            <a:pt x="12" y="0"/>
                          </a:lnTo>
                          <a:lnTo>
                            <a:pt x="14" y="2"/>
                          </a:lnTo>
                          <a:lnTo>
                            <a:pt x="14" y="2"/>
                          </a:lnTo>
                          <a:lnTo>
                            <a:pt x="19" y="7"/>
                          </a:lnTo>
                          <a:lnTo>
                            <a:pt x="19" y="7"/>
                          </a:lnTo>
                          <a:lnTo>
                            <a:pt x="19" y="9"/>
                          </a:lnTo>
                          <a:lnTo>
                            <a:pt x="19" y="9"/>
                          </a:lnTo>
                          <a:lnTo>
                            <a:pt x="21" y="9"/>
                          </a:lnTo>
                          <a:lnTo>
                            <a:pt x="21" y="9"/>
                          </a:lnTo>
                          <a:lnTo>
                            <a:pt x="21" y="11"/>
                          </a:lnTo>
                          <a:lnTo>
                            <a:pt x="21" y="11"/>
                          </a:lnTo>
                          <a:lnTo>
                            <a:pt x="21" y="11"/>
                          </a:lnTo>
                          <a:lnTo>
                            <a:pt x="21" y="11"/>
                          </a:lnTo>
                          <a:lnTo>
                            <a:pt x="19" y="11"/>
                          </a:lnTo>
                          <a:lnTo>
                            <a:pt x="19" y="11"/>
                          </a:lnTo>
                          <a:lnTo>
                            <a:pt x="19" y="11"/>
                          </a:lnTo>
                          <a:lnTo>
                            <a:pt x="19" y="11"/>
                          </a:lnTo>
                          <a:lnTo>
                            <a:pt x="17" y="9"/>
                          </a:lnTo>
                          <a:lnTo>
                            <a:pt x="17" y="9"/>
                          </a:lnTo>
                          <a:lnTo>
                            <a:pt x="14" y="7"/>
                          </a:lnTo>
                          <a:lnTo>
                            <a:pt x="14" y="7"/>
                          </a:lnTo>
                          <a:lnTo>
                            <a:pt x="12" y="7"/>
                          </a:lnTo>
                          <a:lnTo>
                            <a:pt x="12" y="7"/>
                          </a:lnTo>
                          <a:lnTo>
                            <a:pt x="7" y="7"/>
                          </a:lnTo>
                          <a:lnTo>
                            <a:pt x="7" y="7"/>
                          </a:lnTo>
                          <a:lnTo>
                            <a:pt x="2" y="4"/>
                          </a:lnTo>
                          <a:lnTo>
                            <a:pt x="2" y="4"/>
                          </a:lnTo>
                          <a:lnTo>
                            <a:pt x="2" y="4"/>
                          </a:lnTo>
                          <a:lnTo>
                            <a:pt x="2" y="4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17" name="Freeform 1251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4281" y="2235"/>
                      <a:ext cx="19" cy="16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14"/>
                        </a:cxn>
                        <a:cxn ang="0">
                          <a:pos x="0" y="14"/>
                        </a:cxn>
                        <a:cxn ang="0">
                          <a:pos x="0" y="14"/>
                        </a:cxn>
                        <a:cxn ang="0">
                          <a:pos x="0" y="9"/>
                        </a:cxn>
                        <a:cxn ang="0">
                          <a:pos x="0" y="9"/>
                        </a:cxn>
                        <a:cxn ang="0">
                          <a:pos x="5" y="2"/>
                        </a:cxn>
                        <a:cxn ang="0">
                          <a:pos x="5" y="2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17" y="0"/>
                        </a:cxn>
                        <a:cxn ang="0">
                          <a:pos x="17" y="0"/>
                        </a:cxn>
                        <a:cxn ang="0">
                          <a:pos x="17" y="0"/>
                        </a:cxn>
                        <a:cxn ang="0">
                          <a:pos x="17" y="0"/>
                        </a:cxn>
                        <a:cxn ang="0">
                          <a:pos x="17" y="2"/>
                        </a:cxn>
                        <a:cxn ang="0">
                          <a:pos x="17" y="2"/>
                        </a:cxn>
                        <a:cxn ang="0">
                          <a:pos x="12" y="5"/>
                        </a:cxn>
                        <a:cxn ang="0">
                          <a:pos x="12" y="5"/>
                        </a:cxn>
                        <a:cxn ang="0">
                          <a:pos x="12" y="5"/>
                        </a:cxn>
                        <a:cxn ang="0">
                          <a:pos x="12" y="5"/>
                        </a:cxn>
                        <a:cxn ang="0">
                          <a:pos x="10" y="5"/>
                        </a:cxn>
                        <a:cxn ang="0">
                          <a:pos x="10" y="5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3" y="9"/>
                        </a:cxn>
                        <a:cxn ang="0">
                          <a:pos x="3" y="9"/>
                        </a:cxn>
                        <a:cxn ang="0">
                          <a:pos x="3" y="9"/>
                        </a:cxn>
                        <a:cxn ang="0">
                          <a:pos x="3" y="9"/>
                        </a:cxn>
                        <a:cxn ang="0">
                          <a:pos x="3" y="14"/>
                        </a:cxn>
                        <a:cxn ang="0">
                          <a:pos x="3" y="14"/>
                        </a:cxn>
                        <a:cxn ang="0">
                          <a:pos x="3" y="14"/>
                        </a:cxn>
                        <a:cxn ang="0">
                          <a:pos x="3" y="14"/>
                        </a:cxn>
                        <a:cxn ang="0">
                          <a:pos x="0" y="14"/>
                        </a:cxn>
                        <a:cxn ang="0">
                          <a:pos x="0" y="14"/>
                        </a:cxn>
                        <a:cxn ang="0">
                          <a:pos x="0" y="14"/>
                        </a:cxn>
                        <a:cxn ang="0">
                          <a:pos x="0" y="14"/>
                        </a:cxn>
                      </a:cxnLst>
                      <a:rect l="0" t="0" r="r" b="b"/>
                      <a:pathLst>
                        <a:path w="17" h="14">
                          <a:moveTo>
                            <a:pt x="0" y="14"/>
                          </a:moveTo>
                          <a:lnTo>
                            <a:pt x="0" y="14"/>
                          </a:lnTo>
                          <a:lnTo>
                            <a:pt x="0" y="14"/>
                          </a:lnTo>
                          <a:lnTo>
                            <a:pt x="0" y="9"/>
                          </a:lnTo>
                          <a:lnTo>
                            <a:pt x="0" y="9"/>
                          </a:lnTo>
                          <a:lnTo>
                            <a:pt x="5" y="2"/>
                          </a:lnTo>
                          <a:lnTo>
                            <a:pt x="5" y="2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17" y="0"/>
                          </a:lnTo>
                          <a:lnTo>
                            <a:pt x="17" y="0"/>
                          </a:lnTo>
                          <a:lnTo>
                            <a:pt x="17" y="0"/>
                          </a:lnTo>
                          <a:lnTo>
                            <a:pt x="17" y="0"/>
                          </a:lnTo>
                          <a:lnTo>
                            <a:pt x="17" y="2"/>
                          </a:lnTo>
                          <a:lnTo>
                            <a:pt x="17" y="2"/>
                          </a:lnTo>
                          <a:lnTo>
                            <a:pt x="12" y="5"/>
                          </a:lnTo>
                          <a:lnTo>
                            <a:pt x="12" y="5"/>
                          </a:lnTo>
                          <a:lnTo>
                            <a:pt x="12" y="5"/>
                          </a:lnTo>
                          <a:lnTo>
                            <a:pt x="12" y="5"/>
                          </a:lnTo>
                          <a:lnTo>
                            <a:pt x="10" y="5"/>
                          </a:lnTo>
                          <a:lnTo>
                            <a:pt x="10" y="5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5" y="7"/>
                          </a:lnTo>
                          <a:lnTo>
                            <a:pt x="5" y="7"/>
                          </a:lnTo>
                          <a:lnTo>
                            <a:pt x="3" y="9"/>
                          </a:lnTo>
                          <a:lnTo>
                            <a:pt x="3" y="9"/>
                          </a:lnTo>
                          <a:lnTo>
                            <a:pt x="3" y="9"/>
                          </a:lnTo>
                          <a:lnTo>
                            <a:pt x="3" y="9"/>
                          </a:lnTo>
                          <a:lnTo>
                            <a:pt x="3" y="14"/>
                          </a:lnTo>
                          <a:lnTo>
                            <a:pt x="3" y="14"/>
                          </a:lnTo>
                          <a:lnTo>
                            <a:pt x="3" y="14"/>
                          </a:lnTo>
                          <a:lnTo>
                            <a:pt x="3" y="14"/>
                          </a:lnTo>
                          <a:lnTo>
                            <a:pt x="0" y="14"/>
                          </a:lnTo>
                          <a:lnTo>
                            <a:pt x="0" y="14"/>
                          </a:lnTo>
                          <a:lnTo>
                            <a:pt x="0" y="14"/>
                          </a:lnTo>
                          <a:lnTo>
                            <a:pt x="0" y="14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18" name="Freeform 1252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4228" y="2245"/>
                      <a:ext cx="11" cy="6"/>
                    </a:xfrm>
                    <a:custGeom>
                      <a:avLst/>
                      <a:gdLst/>
                      <a:ahLst/>
                      <a:cxnLst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2" y="0"/>
                        </a:cxn>
                        <a:cxn ang="0">
                          <a:pos x="5" y="0"/>
                        </a:cxn>
                        <a:cxn ang="0">
                          <a:pos x="5" y="0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7" y="0"/>
                        </a:cxn>
                        <a:cxn ang="0">
                          <a:pos x="10" y="0"/>
                        </a:cxn>
                        <a:cxn ang="0">
                          <a:pos x="10" y="0"/>
                        </a:cxn>
                        <a:cxn ang="0">
                          <a:pos x="7" y="5"/>
                        </a:cxn>
                        <a:cxn ang="0">
                          <a:pos x="7" y="5"/>
                        </a:cxn>
                        <a:cxn ang="0">
                          <a:pos x="5" y="5"/>
                        </a:cxn>
                        <a:cxn ang="0">
                          <a:pos x="5" y="5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  <a:cxn ang="0">
                          <a:pos x="0" y="3"/>
                        </a:cxn>
                      </a:cxnLst>
                      <a:rect l="0" t="0" r="r" b="b"/>
                      <a:pathLst>
                        <a:path w="10" h="5">
                          <a:moveTo>
                            <a:pt x="0" y="3"/>
                          </a:move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2" y="0"/>
                          </a:lnTo>
                          <a:lnTo>
                            <a:pt x="5" y="0"/>
                          </a:lnTo>
                          <a:lnTo>
                            <a:pt x="5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7" y="0"/>
                          </a:lnTo>
                          <a:lnTo>
                            <a:pt x="10" y="0"/>
                          </a:lnTo>
                          <a:lnTo>
                            <a:pt x="10" y="0"/>
                          </a:lnTo>
                          <a:lnTo>
                            <a:pt x="7" y="5"/>
                          </a:lnTo>
                          <a:lnTo>
                            <a:pt x="7" y="5"/>
                          </a:lnTo>
                          <a:lnTo>
                            <a:pt x="5" y="5"/>
                          </a:lnTo>
                          <a:lnTo>
                            <a:pt x="5" y="5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lnTo>
                            <a:pt x="0" y="3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19" name="Freeform 1253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4236" y="2245"/>
                      <a:ext cx="27" cy="17"/>
                    </a:xfrm>
                    <a:custGeom>
                      <a:avLst/>
                      <a:gdLst/>
                      <a:ahLst/>
                      <a:cxnLst>
                        <a:cxn ang="0">
                          <a:pos x="3" y="12"/>
                        </a:cxn>
                        <a:cxn ang="0">
                          <a:pos x="0" y="12"/>
                        </a:cxn>
                        <a:cxn ang="0">
                          <a:pos x="0" y="12"/>
                        </a:cxn>
                        <a:cxn ang="0">
                          <a:pos x="3" y="12"/>
                        </a:cxn>
                        <a:cxn ang="0">
                          <a:pos x="3" y="12"/>
                        </a:cxn>
                        <a:cxn ang="0">
                          <a:pos x="14" y="3"/>
                        </a:cxn>
                        <a:cxn ang="0">
                          <a:pos x="14" y="3"/>
                        </a:cxn>
                        <a:cxn ang="0">
                          <a:pos x="24" y="0"/>
                        </a:cxn>
                        <a:cxn ang="0">
                          <a:pos x="24" y="0"/>
                        </a:cxn>
                        <a:cxn ang="0">
                          <a:pos x="24" y="3"/>
                        </a:cxn>
                        <a:cxn ang="0">
                          <a:pos x="24" y="3"/>
                        </a:cxn>
                        <a:cxn ang="0">
                          <a:pos x="24" y="3"/>
                        </a:cxn>
                        <a:cxn ang="0">
                          <a:pos x="24" y="3"/>
                        </a:cxn>
                        <a:cxn ang="0">
                          <a:pos x="24" y="5"/>
                        </a:cxn>
                        <a:cxn ang="0">
                          <a:pos x="24" y="5"/>
                        </a:cxn>
                        <a:cxn ang="0">
                          <a:pos x="21" y="7"/>
                        </a:cxn>
                        <a:cxn ang="0">
                          <a:pos x="21" y="7"/>
                        </a:cxn>
                        <a:cxn ang="0">
                          <a:pos x="21" y="7"/>
                        </a:cxn>
                        <a:cxn ang="0">
                          <a:pos x="21" y="7"/>
                        </a:cxn>
                        <a:cxn ang="0">
                          <a:pos x="7" y="15"/>
                        </a:cxn>
                        <a:cxn ang="0">
                          <a:pos x="7" y="15"/>
                        </a:cxn>
                        <a:cxn ang="0">
                          <a:pos x="3" y="12"/>
                        </a:cxn>
                        <a:cxn ang="0">
                          <a:pos x="3" y="12"/>
                        </a:cxn>
                        <a:cxn ang="0">
                          <a:pos x="3" y="12"/>
                        </a:cxn>
                        <a:cxn ang="0">
                          <a:pos x="3" y="12"/>
                        </a:cxn>
                      </a:cxnLst>
                      <a:rect l="0" t="0" r="r" b="b"/>
                      <a:pathLst>
                        <a:path w="24" h="15">
                          <a:moveTo>
                            <a:pt x="3" y="12"/>
                          </a:moveTo>
                          <a:lnTo>
                            <a:pt x="0" y="12"/>
                          </a:lnTo>
                          <a:lnTo>
                            <a:pt x="0" y="12"/>
                          </a:lnTo>
                          <a:lnTo>
                            <a:pt x="3" y="12"/>
                          </a:lnTo>
                          <a:lnTo>
                            <a:pt x="3" y="12"/>
                          </a:lnTo>
                          <a:lnTo>
                            <a:pt x="14" y="3"/>
                          </a:lnTo>
                          <a:lnTo>
                            <a:pt x="14" y="3"/>
                          </a:lnTo>
                          <a:lnTo>
                            <a:pt x="24" y="0"/>
                          </a:lnTo>
                          <a:lnTo>
                            <a:pt x="24" y="0"/>
                          </a:lnTo>
                          <a:lnTo>
                            <a:pt x="24" y="3"/>
                          </a:lnTo>
                          <a:lnTo>
                            <a:pt x="24" y="3"/>
                          </a:lnTo>
                          <a:lnTo>
                            <a:pt x="24" y="3"/>
                          </a:lnTo>
                          <a:lnTo>
                            <a:pt x="24" y="3"/>
                          </a:lnTo>
                          <a:lnTo>
                            <a:pt x="24" y="5"/>
                          </a:lnTo>
                          <a:lnTo>
                            <a:pt x="24" y="5"/>
                          </a:lnTo>
                          <a:lnTo>
                            <a:pt x="21" y="7"/>
                          </a:lnTo>
                          <a:lnTo>
                            <a:pt x="21" y="7"/>
                          </a:lnTo>
                          <a:lnTo>
                            <a:pt x="21" y="7"/>
                          </a:lnTo>
                          <a:lnTo>
                            <a:pt x="21" y="7"/>
                          </a:lnTo>
                          <a:lnTo>
                            <a:pt x="7" y="15"/>
                          </a:lnTo>
                          <a:lnTo>
                            <a:pt x="7" y="15"/>
                          </a:lnTo>
                          <a:lnTo>
                            <a:pt x="3" y="12"/>
                          </a:lnTo>
                          <a:lnTo>
                            <a:pt x="3" y="12"/>
                          </a:lnTo>
                          <a:lnTo>
                            <a:pt x="3" y="12"/>
                          </a:lnTo>
                          <a:lnTo>
                            <a:pt x="3" y="12"/>
                          </a:lnTo>
                          <a:close/>
                        </a:path>
                      </a:pathLst>
                    </a:custGeom>
                    <a:grpFill/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413" name="Freeform 1254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6465888" y="3028950"/>
                    <a:ext cx="7937" cy="11113"/>
                  </a:xfrm>
                  <a:custGeom>
                    <a:avLst/>
                    <a:gdLst/>
                    <a:ahLst/>
                    <a:cxnLst>
                      <a:cxn ang="0">
                        <a:pos x="0" y="7"/>
                      </a:cxn>
                      <a:cxn ang="0">
                        <a:pos x="0" y="7"/>
                      </a:cxn>
                      <a:cxn ang="0">
                        <a:pos x="0" y="7"/>
                      </a:cxn>
                      <a:cxn ang="0">
                        <a:pos x="0" y="2"/>
                      </a:cxn>
                      <a:cxn ang="0">
                        <a:pos x="0" y="2"/>
                      </a:cxn>
                      <a:cxn ang="0">
                        <a:pos x="0" y="2"/>
                      </a:cxn>
                      <a:cxn ang="0">
                        <a:pos x="0" y="2"/>
                      </a:cxn>
                      <a:cxn ang="0">
                        <a:pos x="2" y="0"/>
                      </a:cxn>
                      <a:cxn ang="0">
                        <a:pos x="2" y="0"/>
                      </a:cxn>
                      <a:cxn ang="0">
                        <a:pos x="5" y="2"/>
                      </a:cxn>
                      <a:cxn ang="0">
                        <a:pos x="5" y="2"/>
                      </a:cxn>
                      <a:cxn ang="0">
                        <a:pos x="5" y="4"/>
                      </a:cxn>
                      <a:cxn ang="0">
                        <a:pos x="5" y="4"/>
                      </a:cxn>
                      <a:cxn ang="0">
                        <a:pos x="5" y="7"/>
                      </a:cxn>
                      <a:cxn ang="0">
                        <a:pos x="5" y="7"/>
                      </a:cxn>
                      <a:cxn ang="0">
                        <a:pos x="2" y="7"/>
                      </a:cxn>
                      <a:cxn ang="0">
                        <a:pos x="2" y="7"/>
                      </a:cxn>
                      <a:cxn ang="0">
                        <a:pos x="0" y="7"/>
                      </a:cxn>
                      <a:cxn ang="0">
                        <a:pos x="0" y="7"/>
                      </a:cxn>
                      <a:cxn ang="0">
                        <a:pos x="0" y="7"/>
                      </a:cxn>
                      <a:cxn ang="0">
                        <a:pos x="0" y="7"/>
                      </a:cxn>
                    </a:cxnLst>
                    <a:rect l="0" t="0" r="r" b="b"/>
                    <a:pathLst>
                      <a:path w="5" h="7">
                        <a:moveTo>
                          <a:pt x="0" y="7"/>
                        </a:moveTo>
                        <a:lnTo>
                          <a:pt x="0" y="7"/>
                        </a:lnTo>
                        <a:lnTo>
                          <a:pt x="0" y="7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0" y="2"/>
                        </a:lnTo>
                        <a:lnTo>
                          <a:pt x="2" y="0"/>
                        </a:lnTo>
                        <a:lnTo>
                          <a:pt x="2" y="0"/>
                        </a:lnTo>
                        <a:lnTo>
                          <a:pt x="5" y="2"/>
                        </a:lnTo>
                        <a:lnTo>
                          <a:pt x="5" y="2"/>
                        </a:lnTo>
                        <a:lnTo>
                          <a:pt x="5" y="4"/>
                        </a:lnTo>
                        <a:lnTo>
                          <a:pt x="5" y="4"/>
                        </a:lnTo>
                        <a:lnTo>
                          <a:pt x="5" y="7"/>
                        </a:lnTo>
                        <a:lnTo>
                          <a:pt x="5" y="7"/>
                        </a:lnTo>
                        <a:lnTo>
                          <a:pt x="2" y="7"/>
                        </a:lnTo>
                        <a:lnTo>
                          <a:pt x="2" y="7"/>
                        </a:lnTo>
                        <a:lnTo>
                          <a:pt x="0" y="7"/>
                        </a:lnTo>
                        <a:lnTo>
                          <a:pt x="0" y="7"/>
                        </a:lnTo>
                        <a:lnTo>
                          <a:pt x="0" y="7"/>
                        </a:lnTo>
                        <a:lnTo>
                          <a:pt x="0" y="7"/>
                        </a:lnTo>
                        <a:close/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14" name="Freeform 1255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6524625" y="3067050"/>
                    <a:ext cx="15875" cy="20638"/>
                  </a:xfrm>
                  <a:custGeom>
                    <a:avLst/>
                    <a:gdLst/>
                    <a:ahLst/>
                    <a:cxnLst>
                      <a:cxn ang="0">
                        <a:pos x="5" y="12"/>
                      </a:cxn>
                      <a:cxn ang="0">
                        <a:pos x="3" y="12"/>
                      </a:cxn>
                      <a:cxn ang="0">
                        <a:pos x="3" y="12"/>
                      </a:cxn>
                      <a:cxn ang="0">
                        <a:pos x="0" y="5"/>
                      </a:cxn>
                      <a:cxn ang="0">
                        <a:pos x="0" y="5"/>
                      </a:cxn>
                      <a:cxn ang="0">
                        <a:pos x="0" y="3"/>
                      </a:cxn>
                      <a:cxn ang="0">
                        <a:pos x="0" y="3"/>
                      </a:cxn>
                      <a:cxn ang="0">
                        <a:pos x="0" y="0"/>
                      </a:cxn>
                      <a:cxn ang="0">
                        <a:pos x="0" y="0"/>
                      </a:cxn>
                      <a:cxn ang="0">
                        <a:pos x="3" y="0"/>
                      </a:cxn>
                      <a:cxn ang="0">
                        <a:pos x="3" y="0"/>
                      </a:cxn>
                      <a:cxn ang="0">
                        <a:pos x="10" y="7"/>
                      </a:cxn>
                      <a:cxn ang="0">
                        <a:pos x="10" y="7"/>
                      </a:cxn>
                      <a:cxn ang="0">
                        <a:pos x="10" y="10"/>
                      </a:cxn>
                      <a:cxn ang="0">
                        <a:pos x="10" y="10"/>
                      </a:cxn>
                      <a:cxn ang="0">
                        <a:pos x="7" y="12"/>
                      </a:cxn>
                      <a:cxn ang="0">
                        <a:pos x="7" y="12"/>
                      </a:cxn>
                      <a:cxn ang="0">
                        <a:pos x="5" y="12"/>
                      </a:cxn>
                      <a:cxn ang="0">
                        <a:pos x="5" y="12"/>
                      </a:cxn>
                      <a:cxn ang="0">
                        <a:pos x="5" y="12"/>
                      </a:cxn>
                      <a:cxn ang="0">
                        <a:pos x="5" y="12"/>
                      </a:cxn>
                      <a:cxn ang="0">
                        <a:pos x="5" y="12"/>
                      </a:cxn>
                      <a:cxn ang="0">
                        <a:pos x="5" y="12"/>
                      </a:cxn>
                    </a:cxnLst>
                    <a:rect l="0" t="0" r="r" b="b"/>
                    <a:pathLst>
                      <a:path w="10" h="12">
                        <a:moveTo>
                          <a:pt x="5" y="12"/>
                        </a:moveTo>
                        <a:lnTo>
                          <a:pt x="3" y="12"/>
                        </a:lnTo>
                        <a:lnTo>
                          <a:pt x="3" y="12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0" y="0"/>
                        </a:lnTo>
                        <a:lnTo>
                          <a:pt x="0" y="0"/>
                        </a:lnTo>
                        <a:lnTo>
                          <a:pt x="3" y="0"/>
                        </a:lnTo>
                        <a:lnTo>
                          <a:pt x="3" y="0"/>
                        </a:lnTo>
                        <a:lnTo>
                          <a:pt x="10" y="7"/>
                        </a:lnTo>
                        <a:lnTo>
                          <a:pt x="10" y="7"/>
                        </a:lnTo>
                        <a:lnTo>
                          <a:pt x="10" y="10"/>
                        </a:lnTo>
                        <a:lnTo>
                          <a:pt x="10" y="10"/>
                        </a:lnTo>
                        <a:lnTo>
                          <a:pt x="7" y="12"/>
                        </a:lnTo>
                        <a:lnTo>
                          <a:pt x="7" y="12"/>
                        </a:lnTo>
                        <a:lnTo>
                          <a:pt x="5" y="12"/>
                        </a:lnTo>
                        <a:lnTo>
                          <a:pt x="5" y="12"/>
                        </a:lnTo>
                        <a:lnTo>
                          <a:pt x="5" y="12"/>
                        </a:lnTo>
                        <a:lnTo>
                          <a:pt x="5" y="12"/>
                        </a:lnTo>
                        <a:lnTo>
                          <a:pt x="5" y="12"/>
                        </a:lnTo>
                        <a:lnTo>
                          <a:pt x="5" y="12"/>
                        </a:lnTo>
                        <a:close/>
                      </a:path>
                    </a:pathLst>
                  </a:custGeom>
                  <a:grpFill/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endParaRPr lang="en-GB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415" name="Freeform 1257" descr="© INSCALE GmbH, 05.05.2010&#10;http://www.presentationload.com/"/>
                  <p:cNvSpPr>
                    <a:spLocks/>
                  </p:cNvSpPr>
                  <p:nvPr/>
                </p:nvSpPr>
                <p:spPr bwMode="auto">
                  <a:xfrm>
                    <a:off x="4117975" y="2259013"/>
                    <a:ext cx="84137" cy="31750"/>
                  </a:xfrm>
                  <a:custGeom>
                    <a:avLst/>
                    <a:gdLst/>
                    <a:ahLst/>
                    <a:cxnLst>
                      <a:cxn ang="0">
                        <a:pos x="0" y="7"/>
                      </a:cxn>
                      <a:cxn ang="0">
                        <a:pos x="0" y="7"/>
                      </a:cxn>
                      <a:cxn ang="0">
                        <a:pos x="0" y="7"/>
                      </a:cxn>
                      <a:cxn ang="0">
                        <a:pos x="0" y="5"/>
                      </a:cxn>
                      <a:cxn ang="0">
                        <a:pos x="0" y="5"/>
                      </a:cxn>
                      <a:cxn ang="0">
                        <a:pos x="0" y="5"/>
                      </a:cxn>
                      <a:cxn ang="0">
                        <a:pos x="0" y="5"/>
                      </a:cxn>
                      <a:cxn ang="0">
                        <a:pos x="0" y="5"/>
                      </a:cxn>
                      <a:cxn ang="0">
                        <a:pos x="0" y="5"/>
                      </a:cxn>
                      <a:cxn ang="0">
                        <a:pos x="12" y="0"/>
                      </a:cxn>
                      <a:cxn ang="0">
                        <a:pos x="12" y="0"/>
                      </a:cxn>
                      <a:cxn ang="0">
                        <a:pos x="24" y="0"/>
                      </a:cxn>
                      <a:cxn ang="0">
                        <a:pos x="24" y="0"/>
                      </a:cxn>
                      <a:cxn ang="0">
                        <a:pos x="28" y="3"/>
                      </a:cxn>
                      <a:cxn ang="0">
                        <a:pos x="28" y="3"/>
                      </a:cxn>
                      <a:cxn ang="0">
                        <a:pos x="33" y="5"/>
                      </a:cxn>
                      <a:cxn ang="0">
                        <a:pos x="33" y="5"/>
                      </a:cxn>
                      <a:cxn ang="0">
                        <a:pos x="38" y="7"/>
                      </a:cxn>
                      <a:cxn ang="0">
                        <a:pos x="38" y="7"/>
                      </a:cxn>
                      <a:cxn ang="0">
                        <a:pos x="40" y="7"/>
                      </a:cxn>
                      <a:cxn ang="0">
                        <a:pos x="40" y="7"/>
                      </a:cxn>
                      <a:cxn ang="0">
                        <a:pos x="43" y="10"/>
                      </a:cxn>
                      <a:cxn ang="0">
                        <a:pos x="43" y="10"/>
                      </a:cxn>
                      <a:cxn ang="0">
                        <a:pos x="47" y="14"/>
                      </a:cxn>
                      <a:cxn ang="0">
                        <a:pos x="47" y="14"/>
                      </a:cxn>
                      <a:cxn ang="0">
                        <a:pos x="50" y="17"/>
                      </a:cxn>
                      <a:cxn ang="0">
                        <a:pos x="50" y="17"/>
                      </a:cxn>
                      <a:cxn ang="0">
                        <a:pos x="50" y="17"/>
                      </a:cxn>
                      <a:cxn ang="0">
                        <a:pos x="50" y="17"/>
                      </a:cxn>
                      <a:cxn ang="0">
                        <a:pos x="50" y="19"/>
                      </a:cxn>
                      <a:cxn ang="0">
                        <a:pos x="50" y="19"/>
                      </a:cxn>
                      <a:cxn ang="0">
                        <a:pos x="50" y="19"/>
                      </a:cxn>
                      <a:cxn ang="0">
                        <a:pos x="50" y="19"/>
                      </a:cxn>
                      <a:cxn ang="0">
                        <a:pos x="40" y="19"/>
                      </a:cxn>
                      <a:cxn ang="0">
                        <a:pos x="40" y="19"/>
                      </a:cxn>
                      <a:cxn ang="0">
                        <a:pos x="35" y="17"/>
                      </a:cxn>
                      <a:cxn ang="0">
                        <a:pos x="35" y="17"/>
                      </a:cxn>
                      <a:cxn ang="0">
                        <a:pos x="28" y="14"/>
                      </a:cxn>
                      <a:cxn ang="0">
                        <a:pos x="28" y="14"/>
                      </a:cxn>
                      <a:cxn ang="0">
                        <a:pos x="21" y="12"/>
                      </a:cxn>
                      <a:cxn ang="0">
                        <a:pos x="21" y="12"/>
                      </a:cxn>
                      <a:cxn ang="0">
                        <a:pos x="17" y="12"/>
                      </a:cxn>
                      <a:cxn ang="0">
                        <a:pos x="17" y="12"/>
                      </a:cxn>
                      <a:cxn ang="0">
                        <a:pos x="14" y="12"/>
                      </a:cxn>
                      <a:cxn ang="0">
                        <a:pos x="14" y="12"/>
                      </a:cxn>
                      <a:cxn ang="0">
                        <a:pos x="9" y="10"/>
                      </a:cxn>
                      <a:cxn ang="0">
                        <a:pos x="9" y="10"/>
                      </a:cxn>
                      <a:cxn ang="0">
                        <a:pos x="0" y="7"/>
                      </a:cxn>
                      <a:cxn ang="0">
                        <a:pos x="0" y="7"/>
                      </a:cxn>
                      <a:cxn ang="0">
                        <a:pos x="0" y="7"/>
                      </a:cxn>
                      <a:cxn ang="0">
                        <a:pos x="0" y="7"/>
                      </a:cxn>
                    </a:cxnLst>
                    <a:rect l="0" t="0" r="r" b="b"/>
                    <a:pathLst>
                      <a:path w="50" h="19">
                        <a:moveTo>
                          <a:pt x="0" y="7"/>
                        </a:moveTo>
                        <a:lnTo>
                          <a:pt x="0" y="7"/>
                        </a:lnTo>
                        <a:lnTo>
                          <a:pt x="0" y="7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0" y="5"/>
                        </a:lnTo>
                        <a:lnTo>
                          <a:pt x="12" y="0"/>
                        </a:lnTo>
                        <a:lnTo>
                          <a:pt x="12" y="0"/>
                        </a:lnTo>
                        <a:lnTo>
                          <a:pt x="24" y="0"/>
                        </a:lnTo>
                        <a:lnTo>
                          <a:pt x="24" y="0"/>
                        </a:lnTo>
                        <a:lnTo>
                          <a:pt x="28" y="3"/>
                        </a:lnTo>
                        <a:lnTo>
                          <a:pt x="28" y="3"/>
                        </a:lnTo>
                        <a:lnTo>
                          <a:pt x="33" y="5"/>
                        </a:lnTo>
                        <a:lnTo>
                          <a:pt x="33" y="5"/>
                        </a:lnTo>
                        <a:lnTo>
                          <a:pt x="38" y="7"/>
                        </a:lnTo>
                        <a:lnTo>
                          <a:pt x="38" y="7"/>
                        </a:lnTo>
                        <a:lnTo>
                          <a:pt x="40" y="7"/>
                        </a:lnTo>
                        <a:lnTo>
                          <a:pt x="40" y="7"/>
                        </a:lnTo>
                        <a:lnTo>
                          <a:pt x="43" y="10"/>
                        </a:lnTo>
                        <a:lnTo>
                          <a:pt x="43" y="10"/>
                        </a:lnTo>
                        <a:lnTo>
                          <a:pt x="47" y="14"/>
                        </a:lnTo>
                        <a:lnTo>
                          <a:pt x="47" y="14"/>
                        </a:lnTo>
                        <a:lnTo>
                          <a:pt x="50" y="17"/>
                        </a:lnTo>
                        <a:lnTo>
                          <a:pt x="50" y="17"/>
                        </a:lnTo>
                        <a:lnTo>
                          <a:pt x="50" y="17"/>
                        </a:lnTo>
                        <a:lnTo>
                          <a:pt x="50" y="17"/>
                        </a:lnTo>
                        <a:lnTo>
                          <a:pt x="50" y="19"/>
                        </a:lnTo>
                        <a:lnTo>
                          <a:pt x="50" y="19"/>
                        </a:lnTo>
                        <a:lnTo>
                          <a:pt x="50" y="19"/>
                        </a:lnTo>
                        <a:lnTo>
                          <a:pt x="50" y="19"/>
                        </a:lnTo>
                        <a:lnTo>
                          <a:pt x="40" y="19"/>
                        </a:lnTo>
                        <a:lnTo>
                          <a:pt x="40" y="19"/>
                        </a:lnTo>
                        <a:lnTo>
                          <a:pt x="35" y="17"/>
                        </a:lnTo>
                        <a:lnTo>
                          <a:pt x="35" y="17"/>
                        </a:lnTo>
                        <a:lnTo>
                          <a:pt x="28" y="14"/>
                        </a:lnTo>
                        <a:lnTo>
                          <a:pt x="28" y="14"/>
                        </a:lnTo>
                        <a:lnTo>
                          <a:pt x="21" y="12"/>
                        </a:lnTo>
                        <a:lnTo>
                          <a:pt x="21" y="12"/>
                        </a:lnTo>
                        <a:lnTo>
                          <a:pt x="17" y="12"/>
                        </a:lnTo>
                        <a:lnTo>
                          <a:pt x="17" y="12"/>
                        </a:lnTo>
                        <a:lnTo>
                          <a:pt x="14" y="12"/>
                        </a:lnTo>
                        <a:lnTo>
                          <a:pt x="14" y="12"/>
                        </a:lnTo>
                        <a:lnTo>
                          <a:pt x="9" y="10"/>
                        </a:lnTo>
                        <a:lnTo>
                          <a:pt x="9" y="10"/>
                        </a:lnTo>
                        <a:lnTo>
                          <a:pt x="0" y="7"/>
                        </a:lnTo>
                        <a:lnTo>
                          <a:pt x="0" y="7"/>
                        </a:lnTo>
                        <a:lnTo>
                          <a:pt x="0" y="7"/>
                        </a:lnTo>
                        <a:lnTo>
                          <a:pt x="0" y="7"/>
                        </a:lnTo>
                        <a:close/>
                      </a:path>
                    </a:pathLst>
                  </a:custGeom>
                  <a:solidFill>
                    <a:srgbClr val="FFC000"/>
                  </a:solidFill>
                  <a:ln w="3175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>
                    <a:outerShdw blurRad="38100" sx="103000" sy="103000" algn="ctr" rotWithShape="0">
                      <a:prstClr val="black">
                        <a:alpha val="60000"/>
                      </a:prstClr>
                    </a:outerShdw>
                  </a:effectLst>
                </p:spPr>
                <p:txBody>
                  <a:bodyPr wrap="none" lIns="0" tIns="0" rIns="0" bIns="0"/>
                  <a:lstStyle/>
                  <a:p>
                    <a:endParaRPr lang="en-GB" sz="1600" dirty="0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360" name="Gruppieren 359"/>
                <p:cNvGrpSpPr/>
                <p:nvPr/>
              </p:nvGrpSpPr>
              <p:grpSpPr>
                <a:xfrm>
                  <a:off x="-30062" y="2322816"/>
                  <a:ext cx="7156451" cy="3879599"/>
                  <a:chOff x="0" y="1844927"/>
                  <a:chExt cx="7156451" cy="3879599"/>
                </a:xfrm>
              </p:grpSpPr>
              <p:grpSp>
                <p:nvGrpSpPr>
                  <p:cNvPr id="361" name="Gruppieren 360"/>
                  <p:cNvGrpSpPr/>
                  <p:nvPr/>
                </p:nvGrpSpPr>
                <p:grpSpPr>
                  <a:xfrm>
                    <a:off x="3035300" y="4768850"/>
                    <a:ext cx="4121151" cy="955676"/>
                    <a:chOff x="3035300" y="4768850"/>
                    <a:chExt cx="4121151" cy="955676"/>
                  </a:xfrm>
                </p:grpSpPr>
                <p:sp>
                  <p:nvSpPr>
                    <p:cNvPr id="375" name="Freeform 1104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3833813" y="4859338"/>
                      <a:ext cx="3322638" cy="865188"/>
                    </a:xfrm>
                    <a:custGeom>
                      <a:avLst/>
                      <a:gdLst/>
                      <a:ahLst/>
                      <a:cxnLst>
                        <a:cxn ang="0">
                          <a:pos x="20" y="147"/>
                        </a:cxn>
                        <a:cxn ang="0">
                          <a:pos x="1" y="213"/>
                        </a:cxn>
                        <a:cxn ang="0">
                          <a:pos x="14" y="206"/>
                        </a:cxn>
                        <a:cxn ang="0">
                          <a:pos x="22" y="220"/>
                        </a:cxn>
                        <a:cxn ang="0">
                          <a:pos x="34" y="218"/>
                        </a:cxn>
                        <a:cxn ang="0">
                          <a:pos x="864" y="207"/>
                        </a:cxn>
                        <a:cxn ang="0">
                          <a:pos x="866" y="177"/>
                        </a:cxn>
                        <a:cxn ang="0">
                          <a:pos x="819" y="155"/>
                        </a:cxn>
                        <a:cxn ang="0">
                          <a:pos x="817" y="178"/>
                        </a:cxn>
                        <a:cxn ang="0">
                          <a:pos x="790" y="146"/>
                        </a:cxn>
                        <a:cxn ang="0">
                          <a:pos x="789" y="175"/>
                        </a:cxn>
                        <a:cxn ang="0">
                          <a:pos x="763" y="148"/>
                        </a:cxn>
                        <a:cxn ang="0">
                          <a:pos x="737" y="149"/>
                        </a:cxn>
                        <a:cxn ang="0">
                          <a:pos x="740" y="142"/>
                        </a:cxn>
                        <a:cxn ang="0">
                          <a:pos x="727" y="127"/>
                        </a:cxn>
                        <a:cxn ang="0">
                          <a:pos x="775" y="110"/>
                        </a:cxn>
                        <a:cxn ang="0">
                          <a:pos x="807" y="94"/>
                        </a:cxn>
                        <a:cxn ang="0">
                          <a:pos x="737" y="95"/>
                        </a:cxn>
                        <a:cxn ang="0">
                          <a:pos x="718" y="96"/>
                        </a:cxn>
                        <a:cxn ang="0">
                          <a:pos x="684" y="106"/>
                        </a:cxn>
                        <a:cxn ang="0">
                          <a:pos x="649" y="102"/>
                        </a:cxn>
                        <a:cxn ang="0">
                          <a:pos x="638" y="104"/>
                        </a:cxn>
                        <a:cxn ang="0">
                          <a:pos x="677" y="112"/>
                        </a:cxn>
                        <a:cxn ang="0">
                          <a:pos x="638" y="121"/>
                        </a:cxn>
                        <a:cxn ang="0">
                          <a:pos x="619" y="132"/>
                        </a:cxn>
                        <a:cxn ang="0">
                          <a:pos x="594" y="147"/>
                        </a:cxn>
                        <a:cxn ang="0">
                          <a:pos x="503" y="113"/>
                        </a:cxn>
                        <a:cxn ang="0">
                          <a:pos x="464" y="107"/>
                        </a:cxn>
                        <a:cxn ang="0">
                          <a:pos x="380" y="121"/>
                        </a:cxn>
                        <a:cxn ang="0">
                          <a:pos x="345" y="91"/>
                        </a:cxn>
                        <a:cxn ang="0">
                          <a:pos x="343" y="69"/>
                        </a:cxn>
                        <a:cxn ang="0">
                          <a:pos x="295" y="50"/>
                        </a:cxn>
                        <a:cxn ang="0">
                          <a:pos x="254" y="47"/>
                        </a:cxn>
                        <a:cxn ang="0">
                          <a:pos x="214" y="7"/>
                        </a:cxn>
                        <a:cxn ang="0">
                          <a:pos x="212" y="40"/>
                        </a:cxn>
                        <a:cxn ang="0">
                          <a:pos x="238" y="35"/>
                        </a:cxn>
                        <a:cxn ang="0">
                          <a:pos x="219" y="45"/>
                        </a:cxn>
                        <a:cxn ang="0">
                          <a:pos x="141" y="85"/>
                        </a:cxn>
                        <a:cxn ang="0">
                          <a:pos x="119" y="96"/>
                        </a:cxn>
                        <a:cxn ang="0">
                          <a:pos x="125" y="121"/>
                        </a:cxn>
                        <a:cxn ang="0">
                          <a:pos x="155" y="178"/>
                        </a:cxn>
                        <a:cxn ang="0">
                          <a:pos x="151" y="206"/>
                        </a:cxn>
                        <a:cxn ang="0">
                          <a:pos x="109" y="201"/>
                        </a:cxn>
                        <a:cxn ang="0">
                          <a:pos x="79" y="171"/>
                        </a:cxn>
                        <a:cxn ang="0">
                          <a:pos x="106" y="86"/>
                        </a:cxn>
                        <a:cxn ang="0">
                          <a:pos x="134" y="30"/>
                        </a:cxn>
                        <a:cxn ang="0">
                          <a:pos x="62" y="72"/>
                        </a:cxn>
                        <a:cxn ang="0">
                          <a:pos x="58" y="72"/>
                        </a:cxn>
                      </a:cxnLst>
                      <a:rect l="0" t="0" r="r" b="b"/>
                      <a:pathLst>
                        <a:path w="886" h="231">
                          <a:moveTo>
                            <a:pt x="58" y="71"/>
                          </a:moveTo>
                          <a:cubicBezTo>
                            <a:pt x="57" y="71"/>
                            <a:pt x="57" y="71"/>
                            <a:pt x="57" y="71"/>
                          </a:cubicBezTo>
                          <a:cubicBezTo>
                            <a:pt x="56" y="71"/>
                            <a:pt x="56" y="71"/>
                            <a:pt x="56" y="71"/>
                          </a:cubicBezTo>
                          <a:cubicBezTo>
                            <a:pt x="50" y="71"/>
                            <a:pt x="22" y="142"/>
                            <a:pt x="20" y="147"/>
                          </a:cubicBezTo>
                          <a:cubicBezTo>
                            <a:pt x="18" y="148"/>
                            <a:pt x="18" y="149"/>
                            <a:pt x="18" y="151"/>
                          </a:cubicBezTo>
                          <a:cubicBezTo>
                            <a:pt x="18" y="157"/>
                            <a:pt x="22" y="165"/>
                            <a:pt x="25" y="168"/>
                          </a:cubicBezTo>
                          <a:cubicBezTo>
                            <a:pt x="25" y="174"/>
                            <a:pt x="1" y="201"/>
                            <a:pt x="0" y="210"/>
                          </a:cubicBezTo>
                          <a:cubicBezTo>
                            <a:pt x="0" y="212"/>
                            <a:pt x="0" y="213"/>
                            <a:pt x="1" y="213"/>
                          </a:cubicBezTo>
                          <a:cubicBezTo>
                            <a:pt x="1" y="213"/>
                            <a:pt x="1" y="213"/>
                            <a:pt x="2" y="213"/>
                          </a:cubicBezTo>
                          <a:cubicBezTo>
                            <a:pt x="5" y="213"/>
                            <a:pt x="11" y="207"/>
                            <a:pt x="14" y="206"/>
                          </a:cubicBezTo>
                          <a:cubicBezTo>
                            <a:pt x="14" y="206"/>
                            <a:pt x="14" y="206"/>
                            <a:pt x="14" y="207"/>
                          </a:cubicBezTo>
                          <a:cubicBezTo>
                            <a:pt x="14" y="207"/>
                            <a:pt x="14" y="206"/>
                            <a:pt x="14" y="206"/>
                          </a:cubicBezTo>
                          <a:cubicBezTo>
                            <a:pt x="14" y="206"/>
                            <a:pt x="18" y="215"/>
                            <a:pt x="20" y="218"/>
                          </a:cubicBezTo>
                          <a:cubicBezTo>
                            <a:pt x="21" y="219"/>
                            <a:pt x="21" y="219"/>
                            <a:pt x="21" y="219"/>
                          </a:cubicBezTo>
                          <a:cubicBezTo>
                            <a:pt x="21" y="219"/>
                            <a:pt x="21" y="219"/>
                            <a:pt x="21" y="219"/>
                          </a:cubicBezTo>
                          <a:cubicBezTo>
                            <a:pt x="21" y="219"/>
                            <a:pt x="22" y="219"/>
                            <a:pt x="22" y="220"/>
                          </a:cubicBezTo>
                          <a:cubicBezTo>
                            <a:pt x="23" y="220"/>
                            <a:pt x="23" y="220"/>
                            <a:pt x="23" y="220"/>
                          </a:cubicBezTo>
                          <a:cubicBezTo>
                            <a:pt x="24" y="220"/>
                            <a:pt x="25" y="220"/>
                            <a:pt x="25" y="220"/>
                          </a:cubicBezTo>
                          <a:cubicBezTo>
                            <a:pt x="30" y="219"/>
                            <a:pt x="34" y="218"/>
                            <a:pt x="34" y="218"/>
                          </a:cubicBezTo>
                          <a:cubicBezTo>
                            <a:pt x="34" y="218"/>
                            <a:pt x="34" y="218"/>
                            <a:pt x="34" y="218"/>
                          </a:cubicBezTo>
                          <a:cubicBezTo>
                            <a:pt x="34" y="218"/>
                            <a:pt x="35" y="218"/>
                            <a:pt x="35" y="218"/>
                          </a:cubicBezTo>
                          <a:cubicBezTo>
                            <a:pt x="35" y="218"/>
                            <a:pt x="35" y="224"/>
                            <a:pt x="36" y="230"/>
                          </a:cubicBezTo>
                          <a:cubicBezTo>
                            <a:pt x="862" y="231"/>
                            <a:pt x="862" y="231"/>
                            <a:pt x="862" y="231"/>
                          </a:cubicBezTo>
                          <a:cubicBezTo>
                            <a:pt x="864" y="223"/>
                            <a:pt x="856" y="214"/>
                            <a:pt x="864" y="207"/>
                          </a:cubicBezTo>
                          <a:cubicBezTo>
                            <a:pt x="871" y="202"/>
                            <a:pt x="870" y="198"/>
                            <a:pt x="873" y="198"/>
                          </a:cubicBezTo>
                          <a:cubicBezTo>
                            <a:pt x="874" y="200"/>
                            <a:pt x="874" y="200"/>
                            <a:pt x="875" y="200"/>
                          </a:cubicBezTo>
                          <a:cubicBezTo>
                            <a:pt x="879" y="199"/>
                            <a:pt x="886" y="197"/>
                            <a:pt x="885" y="195"/>
                          </a:cubicBezTo>
                          <a:cubicBezTo>
                            <a:pt x="884" y="192"/>
                            <a:pt x="867" y="177"/>
                            <a:pt x="866" y="177"/>
                          </a:cubicBezTo>
                          <a:cubicBezTo>
                            <a:pt x="865" y="177"/>
                            <a:pt x="854" y="178"/>
                            <a:pt x="854" y="178"/>
                          </a:cubicBezTo>
                          <a:cubicBezTo>
                            <a:pt x="854" y="178"/>
                            <a:pt x="831" y="156"/>
                            <a:pt x="828" y="155"/>
                          </a:cubicBezTo>
                          <a:cubicBezTo>
                            <a:pt x="824" y="155"/>
                            <a:pt x="822" y="154"/>
                            <a:pt x="821" y="154"/>
                          </a:cubicBezTo>
                          <a:cubicBezTo>
                            <a:pt x="819" y="154"/>
                            <a:pt x="819" y="154"/>
                            <a:pt x="819" y="155"/>
                          </a:cubicBezTo>
                          <a:cubicBezTo>
                            <a:pt x="821" y="157"/>
                            <a:pt x="829" y="165"/>
                            <a:pt x="828" y="165"/>
                          </a:cubicBezTo>
                          <a:cubicBezTo>
                            <a:pt x="824" y="164"/>
                            <a:pt x="820" y="163"/>
                            <a:pt x="820" y="163"/>
                          </a:cubicBezTo>
                          <a:cubicBezTo>
                            <a:pt x="820" y="163"/>
                            <a:pt x="821" y="179"/>
                            <a:pt x="817" y="179"/>
                          </a:cubicBezTo>
                          <a:cubicBezTo>
                            <a:pt x="817" y="178"/>
                            <a:pt x="817" y="178"/>
                            <a:pt x="817" y="178"/>
                          </a:cubicBezTo>
                          <a:cubicBezTo>
                            <a:pt x="813" y="175"/>
                            <a:pt x="808" y="172"/>
                            <a:pt x="808" y="170"/>
                          </a:cubicBezTo>
                          <a:cubicBezTo>
                            <a:pt x="808" y="169"/>
                            <a:pt x="816" y="167"/>
                            <a:pt x="806" y="162"/>
                          </a:cubicBezTo>
                          <a:cubicBezTo>
                            <a:pt x="798" y="156"/>
                            <a:pt x="793" y="149"/>
                            <a:pt x="791" y="147"/>
                          </a:cubicBezTo>
                          <a:cubicBezTo>
                            <a:pt x="791" y="146"/>
                            <a:pt x="790" y="146"/>
                            <a:pt x="790" y="146"/>
                          </a:cubicBezTo>
                          <a:cubicBezTo>
                            <a:pt x="789" y="146"/>
                            <a:pt x="786" y="149"/>
                            <a:pt x="786" y="152"/>
                          </a:cubicBezTo>
                          <a:cubicBezTo>
                            <a:pt x="785" y="156"/>
                            <a:pt x="785" y="162"/>
                            <a:pt x="788" y="164"/>
                          </a:cubicBezTo>
                          <a:cubicBezTo>
                            <a:pt x="790" y="165"/>
                            <a:pt x="794" y="175"/>
                            <a:pt x="791" y="175"/>
                          </a:cubicBezTo>
                          <a:cubicBezTo>
                            <a:pt x="790" y="175"/>
                            <a:pt x="790" y="175"/>
                            <a:pt x="789" y="175"/>
                          </a:cubicBezTo>
                          <a:cubicBezTo>
                            <a:pt x="783" y="171"/>
                            <a:pt x="778" y="162"/>
                            <a:pt x="778" y="162"/>
                          </a:cubicBezTo>
                          <a:cubicBezTo>
                            <a:pt x="778" y="162"/>
                            <a:pt x="777" y="169"/>
                            <a:pt x="775" y="169"/>
                          </a:cubicBezTo>
                          <a:cubicBezTo>
                            <a:pt x="772" y="167"/>
                            <a:pt x="771" y="155"/>
                            <a:pt x="770" y="154"/>
                          </a:cubicBezTo>
                          <a:cubicBezTo>
                            <a:pt x="767" y="153"/>
                            <a:pt x="763" y="153"/>
                            <a:pt x="763" y="148"/>
                          </a:cubicBezTo>
                          <a:cubicBezTo>
                            <a:pt x="761" y="142"/>
                            <a:pt x="759" y="128"/>
                            <a:pt x="758" y="128"/>
                          </a:cubicBezTo>
                          <a:cubicBezTo>
                            <a:pt x="755" y="128"/>
                            <a:pt x="756" y="143"/>
                            <a:pt x="751" y="144"/>
                          </a:cubicBezTo>
                          <a:cubicBezTo>
                            <a:pt x="746" y="146"/>
                            <a:pt x="744" y="152"/>
                            <a:pt x="740" y="152"/>
                          </a:cubicBezTo>
                          <a:cubicBezTo>
                            <a:pt x="739" y="152"/>
                            <a:pt x="738" y="151"/>
                            <a:pt x="737" y="149"/>
                          </a:cubicBezTo>
                          <a:cubicBezTo>
                            <a:pt x="732" y="145"/>
                            <a:pt x="720" y="140"/>
                            <a:pt x="723" y="139"/>
                          </a:cubicBezTo>
                          <a:cubicBezTo>
                            <a:pt x="723" y="139"/>
                            <a:pt x="723" y="139"/>
                            <a:pt x="725" y="139"/>
                          </a:cubicBezTo>
                          <a:cubicBezTo>
                            <a:pt x="726" y="139"/>
                            <a:pt x="728" y="140"/>
                            <a:pt x="732" y="141"/>
                          </a:cubicBezTo>
                          <a:cubicBezTo>
                            <a:pt x="734" y="142"/>
                            <a:pt x="738" y="142"/>
                            <a:pt x="740" y="142"/>
                          </a:cubicBezTo>
                          <a:cubicBezTo>
                            <a:pt x="744" y="142"/>
                            <a:pt x="747" y="141"/>
                            <a:pt x="747" y="137"/>
                          </a:cubicBezTo>
                          <a:cubicBezTo>
                            <a:pt x="749" y="124"/>
                            <a:pt x="746" y="121"/>
                            <a:pt x="740" y="121"/>
                          </a:cubicBezTo>
                          <a:cubicBezTo>
                            <a:pt x="735" y="121"/>
                            <a:pt x="732" y="130"/>
                            <a:pt x="729" y="131"/>
                          </a:cubicBezTo>
                          <a:cubicBezTo>
                            <a:pt x="728" y="131"/>
                            <a:pt x="728" y="129"/>
                            <a:pt x="727" y="127"/>
                          </a:cubicBezTo>
                          <a:cubicBezTo>
                            <a:pt x="723" y="119"/>
                            <a:pt x="726" y="115"/>
                            <a:pt x="731" y="115"/>
                          </a:cubicBezTo>
                          <a:cubicBezTo>
                            <a:pt x="737" y="115"/>
                            <a:pt x="735" y="109"/>
                            <a:pt x="741" y="109"/>
                          </a:cubicBezTo>
                          <a:cubicBezTo>
                            <a:pt x="746" y="109"/>
                            <a:pt x="763" y="111"/>
                            <a:pt x="770" y="111"/>
                          </a:cubicBezTo>
                          <a:cubicBezTo>
                            <a:pt x="774" y="111"/>
                            <a:pt x="775" y="111"/>
                            <a:pt x="775" y="110"/>
                          </a:cubicBezTo>
                          <a:cubicBezTo>
                            <a:pt x="775" y="107"/>
                            <a:pt x="778" y="105"/>
                            <a:pt x="778" y="105"/>
                          </a:cubicBezTo>
                          <a:cubicBezTo>
                            <a:pt x="778" y="105"/>
                            <a:pt x="780" y="105"/>
                            <a:pt x="781" y="105"/>
                          </a:cubicBezTo>
                          <a:cubicBezTo>
                            <a:pt x="787" y="105"/>
                            <a:pt x="799" y="103"/>
                            <a:pt x="802" y="100"/>
                          </a:cubicBezTo>
                          <a:cubicBezTo>
                            <a:pt x="807" y="95"/>
                            <a:pt x="807" y="94"/>
                            <a:pt x="807" y="94"/>
                          </a:cubicBezTo>
                          <a:cubicBezTo>
                            <a:pt x="807" y="94"/>
                            <a:pt x="799" y="99"/>
                            <a:pt x="790" y="99"/>
                          </a:cubicBezTo>
                          <a:cubicBezTo>
                            <a:pt x="789" y="99"/>
                            <a:pt x="789" y="99"/>
                            <a:pt x="788" y="99"/>
                          </a:cubicBezTo>
                          <a:cubicBezTo>
                            <a:pt x="778" y="98"/>
                            <a:pt x="747" y="94"/>
                            <a:pt x="744" y="92"/>
                          </a:cubicBezTo>
                          <a:cubicBezTo>
                            <a:pt x="742" y="92"/>
                            <a:pt x="739" y="94"/>
                            <a:pt x="737" y="95"/>
                          </a:cubicBezTo>
                          <a:cubicBezTo>
                            <a:pt x="735" y="96"/>
                            <a:pt x="732" y="97"/>
                            <a:pt x="732" y="97"/>
                          </a:cubicBezTo>
                          <a:cubicBezTo>
                            <a:pt x="731" y="97"/>
                            <a:pt x="731" y="97"/>
                            <a:pt x="731" y="97"/>
                          </a:cubicBezTo>
                          <a:cubicBezTo>
                            <a:pt x="730" y="97"/>
                            <a:pt x="726" y="95"/>
                            <a:pt x="722" y="95"/>
                          </a:cubicBezTo>
                          <a:cubicBezTo>
                            <a:pt x="721" y="95"/>
                            <a:pt x="719" y="95"/>
                            <a:pt x="718" y="96"/>
                          </a:cubicBezTo>
                          <a:cubicBezTo>
                            <a:pt x="711" y="98"/>
                            <a:pt x="704" y="100"/>
                            <a:pt x="704" y="100"/>
                          </a:cubicBezTo>
                          <a:cubicBezTo>
                            <a:pt x="704" y="100"/>
                            <a:pt x="699" y="99"/>
                            <a:pt x="696" y="99"/>
                          </a:cubicBezTo>
                          <a:cubicBezTo>
                            <a:pt x="695" y="99"/>
                            <a:pt x="693" y="99"/>
                            <a:pt x="692" y="99"/>
                          </a:cubicBezTo>
                          <a:cubicBezTo>
                            <a:pt x="691" y="101"/>
                            <a:pt x="684" y="106"/>
                            <a:pt x="684" y="106"/>
                          </a:cubicBezTo>
                          <a:cubicBezTo>
                            <a:pt x="669" y="99"/>
                            <a:pt x="669" y="99"/>
                            <a:pt x="669" y="99"/>
                          </a:cubicBezTo>
                          <a:cubicBezTo>
                            <a:pt x="669" y="99"/>
                            <a:pt x="665" y="103"/>
                            <a:pt x="664" y="104"/>
                          </a:cubicBezTo>
                          <a:cubicBezTo>
                            <a:pt x="663" y="104"/>
                            <a:pt x="660" y="104"/>
                            <a:pt x="657" y="104"/>
                          </a:cubicBezTo>
                          <a:cubicBezTo>
                            <a:pt x="655" y="104"/>
                            <a:pt x="651" y="104"/>
                            <a:pt x="649" y="102"/>
                          </a:cubicBezTo>
                          <a:cubicBezTo>
                            <a:pt x="647" y="102"/>
                            <a:pt x="647" y="102"/>
                            <a:pt x="647" y="102"/>
                          </a:cubicBezTo>
                          <a:cubicBezTo>
                            <a:pt x="646" y="102"/>
                            <a:pt x="645" y="102"/>
                            <a:pt x="644" y="103"/>
                          </a:cubicBezTo>
                          <a:cubicBezTo>
                            <a:pt x="643" y="104"/>
                            <a:pt x="642" y="104"/>
                            <a:pt x="640" y="104"/>
                          </a:cubicBezTo>
                          <a:cubicBezTo>
                            <a:pt x="639" y="104"/>
                            <a:pt x="638" y="104"/>
                            <a:pt x="638" y="104"/>
                          </a:cubicBezTo>
                          <a:cubicBezTo>
                            <a:pt x="638" y="103"/>
                            <a:pt x="637" y="103"/>
                            <a:pt x="637" y="103"/>
                          </a:cubicBezTo>
                          <a:cubicBezTo>
                            <a:pt x="634" y="103"/>
                            <a:pt x="638" y="114"/>
                            <a:pt x="638" y="114"/>
                          </a:cubicBezTo>
                          <a:cubicBezTo>
                            <a:pt x="638" y="114"/>
                            <a:pt x="639" y="109"/>
                            <a:pt x="649" y="109"/>
                          </a:cubicBezTo>
                          <a:cubicBezTo>
                            <a:pt x="658" y="109"/>
                            <a:pt x="677" y="112"/>
                            <a:pt x="677" y="112"/>
                          </a:cubicBezTo>
                          <a:cubicBezTo>
                            <a:pt x="677" y="112"/>
                            <a:pt x="657" y="116"/>
                            <a:pt x="652" y="116"/>
                          </a:cubicBezTo>
                          <a:cubicBezTo>
                            <a:pt x="651" y="116"/>
                            <a:pt x="651" y="116"/>
                            <a:pt x="651" y="116"/>
                          </a:cubicBezTo>
                          <a:cubicBezTo>
                            <a:pt x="648" y="116"/>
                            <a:pt x="642" y="119"/>
                            <a:pt x="641" y="121"/>
                          </a:cubicBezTo>
                          <a:cubicBezTo>
                            <a:pt x="639" y="121"/>
                            <a:pt x="639" y="121"/>
                            <a:pt x="638" y="121"/>
                          </a:cubicBezTo>
                          <a:cubicBezTo>
                            <a:pt x="637" y="121"/>
                            <a:pt x="637" y="121"/>
                            <a:pt x="637" y="121"/>
                          </a:cubicBezTo>
                          <a:cubicBezTo>
                            <a:pt x="637" y="121"/>
                            <a:pt x="636" y="121"/>
                            <a:pt x="635" y="121"/>
                          </a:cubicBezTo>
                          <a:cubicBezTo>
                            <a:pt x="633" y="121"/>
                            <a:pt x="631" y="121"/>
                            <a:pt x="630" y="124"/>
                          </a:cubicBezTo>
                          <a:cubicBezTo>
                            <a:pt x="626" y="128"/>
                            <a:pt x="619" y="132"/>
                            <a:pt x="619" y="132"/>
                          </a:cubicBezTo>
                          <a:cubicBezTo>
                            <a:pt x="619" y="132"/>
                            <a:pt x="617" y="130"/>
                            <a:pt x="613" y="130"/>
                          </a:cubicBezTo>
                          <a:cubicBezTo>
                            <a:pt x="611" y="130"/>
                            <a:pt x="609" y="131"/>
                            <a:pt x="606" y="133"/>
                          </a:cubicBezTo>
                          <a:cubicBezTo>
                            <a:pt x="602" y="141"/>
                            <a:pt x="605" y="144"/>
                            <a:pt x="603" y="144"/>
                          </a:cubicBezTo>
                          <a:cubicBezTo>
                            <a:pt x="601" y="144"/>
                            <a:pt x="598" y="145"/>
                            <a:pt x="594" y="147"/>
                          </a:cubicBezTo>
                          <a:cubicBezTo>
                            <a:pt x="590" y="147"/>
                            <a:pt x="585" y="148"/>
                            <a:pt x="582" y="148"/>
                          </a:cubicBezTo>
                          <a:cubicBezTo>
                            <a:pt x="580" y="148"/>
                            <a:pt x="577" y="148"/>
                            <a:pt x="576" y="148"/>
                          </a:cubicBezTo>
                          <a:cubicBezTo>
                            <a:pt x="568" y="145"/>
                            <a:pt x="554" y="148"/>
                            <a:pt x="537" y="138"/>
                          </a:cubicBezTo>
                          <a:cubicBezTo>
                            <a:pt x="520" y="127"/>
                            <a:pt x="501" y="117"/>
                            <a:pt x="503" y="113"/>
                          </a:cubicBezTo>
                          <a:cubicBezTo>
                            <a:pt x="504" y="111"/>
                            <a:pt x="510" y="110"/>
                            <a:pt x="510" y="110"/>
                          </a:cubicBezTo>
                          <a:cubicBezTo>
                            <a:pt x="495" y="102"/>
                            <a:pt x="495" y="102"/>
                            <a:pt x="495" y="102"/>
                          </a:cubicBezTo>
                          <a:cubicBezTo>
                            <a:pt x="495" y="102"/>
                            <a:pt x="499" y="107"/>
                            <a:pt x="493" y="108"/>
                          </a:cubicBezTo>
                          <a:cubicBezTo>
                            <a:pt x="489" y="108"/>
                            <a:pt x="477" y="107"/>
                            <a:pt x="464" y="107"/>
                          </a:cubicBezTo>
                          <a:cubicBezTo>
                            <a:pt x="457" y="107"/>
                            <a:pt x="450" y="107"/>
                            <a:pt x="443" y="108"/>
                          </a:cubicBezTo>
                          <a:cubicBezTo>
                            <a:pt x="428" y="111"/>
                            <a:pt x="396" y="121"/>
                            <a:pt x="385" y="121"/>
                          </a:cubicBezTo>
                          <a:cubicBezTo>
                            <a:pt x="384" y="121"/>
                            <a:pt x="384" y="121"/>
                            <a:pt x="384" y="121"/>
                          </a:cubicBezTo>
                          <a:cubicBezTo>
                            <a:pt x="382" y="121"/>
                            <a:pt x="381" y="121"/>
                            <a:pt x="380" y="121"/>
                          </a:cubicBezTo>
                          <a:cubicBezTo>
                            <a:pt x="377" y="121"/>
                            <a:pt x="375" y="121"/>
                            <a:pt x="372" y="121"/>
                          </a:cubicBezTo>
                          <a:cubicBezTo>
                            <a:pt x="371" y="121"/>
                            <a:pt x="369" y="121"/>
                            <a:pt x="366" y="121"/>
                          </a:cubicBezTo>
                          <a:cubicBezTo>
                            <a:pt x="363" y="121"/>
                            <a:pt x="358" y="121"/>
                            <a:pt x="357" y="119"/>
                          </a:cubicBezTo>
                          <a:cubicBezTo>
                            <a:pt x="353" y="114"/>
                            <a:pt x="339" y="92"/>
                            <a:pt x="345" y="91"/>
                          </a:cubicBezTo>
                          <a:cubicBezTo>
                            <a:pt x="348" y="89"/>
                            <a:pt x="349" y="89"/>
                            <a:pt x="352" y="89"/>
                          </a:cubicBezTo>
                          <a:cubicBezTo>
                            <a:pt x="354" y="89"/>
                            <a:pt x="355" y="89"/>
                            <a:pt x="355" y="89"/>
                          </a:cubicBezTo>
                          <a:cubicBezTo>
                            <a:pt x="355" y="89"/>
                            <a:pt x="346" y="69"/>
                            <a:pt x="344" y="69"/>
                          </a:cubicBezTo>
                          <a:cubicBezTo>
                            <a:pt x="343" y="69"/>
                            <a:pt x="343" y="69"/>
                            <a:pt x="343" y="69"/>
                          </a:cubicBezTo>
                          <a:cubicBezTo>
                            <a:pt x="340" y="69"/>
                            <a:pt x="335" y="68"/>
                            <a:pt x="335" y="68"/>
                          </a:cubicBezTo>
                          <a:cubicBezTo>
                            <a:pt x="309" y="50"/>
                            <a:pt x="309" y="50"/>
                            <a:pt x="309" y="50"/>
                          </a:cubicBezTo>
                          <a:cubicBezTo>
                            <a:pt x="309" y="50"/>
                            <a:pt x="305" y="51"/>
                            <a:pt x="302" y="51"/>
                          </a:cubicBezTo>
                          <a:cubicBezTo>
                            <a:pt x="299" y="51"/>
                            <a:pt x="297" y="51"/>
                            <a:pt x="295" y="50"/>
                          </a:cubicBezTo>
                          <a:cubicBezTo>
                            <a:pt x="289" y="49"/>
                            <a:pt x="290" y="48"/>
                            <a:pt x="288" y="48"/>
                          </a:cubicBezTo>
                          <a:cubicBezTo>
                            <a:pt x="288" y="48"/>
                            <a:pt x="288" y="48"/>
                            <a:pt x="286" y="48"/>
                          </a:cubicBezTo>
                          <a:cubicBezTo>
                            <a:pt x="286" y="48"/>
                            <a:pt x="283" y="48"/>
                            <a:pt x="279" y="48"/>
                          </a:cubicBezTo>
                          <a:cubicBezTo>
                            <a:pt x="270" y="48"/>
                            <a:pt x="254" y="48"/>
                            <a:pt x="254" y="47"/>
                          </a:cubicBezTo>
                          <a:cubicBezTo>
                            <a:pt x="252" y="47"/>
                            <a:pt x="240" y="32"/>
                            <a:pt x="240" y="32"/>
                          </a:cubicBezTo>
                          <a:cubicBezTo>
                            <a:pt x="240" y="32"/>
                            <a:pt x="236" y="1"/>
                            <a:pt x="229" y="0"/>
                          </a:cubicBezTo>
                          <a:cubicBezTo>
                            <a:pt x="229" y="0"/>
                            <a:pt x="229" y="0"/>
                            <a:pt x="228" y="0"/>
                          </a:cubicBezTo>
                          <a:cubicBezTo>
                            <a:pt x="222" y="0"/>
                            <a:pt x="215" y="5"/>
                            <a:pt x="214" y="7"/>
                          </a:cubicBezTo>
                          <a:cubicBezTo>
                            <a:pt x="213" y="11"/>
                            <a:pt x="213" y="11"/>
                            <a:pt x="213" y="11"/>
                          </a:cubicBezTo>
                          <a:cubicBezTo>
                            <a:pt x="213" y="11"/>
                            <a:pt x="207" y="18"/>
                            <a:pt x="207" y="20"/>
                          </a:cubicBezTo>
                          <a:cubicBezTo>
                            <a:pt x="207" y="21"/>
                            <a:pt x="217" y="27"/>
                            <a:pt x="215" y="31"/>
                          </a:cubicBezTo>
                          <a:cubicBezTo>
                            <a:pt x="214" y="34"/>
                            <a:pt x="206" y="38"/>
                            <a:pt x="212" y="40"/>
                          </a:cubicBezTo>
                          <a:cubicBezTo>
                            <a:pt x="213" y="40"/>
                            <a:pt x="213" y="40"/>
                            <a:pt x="214" y="40"/>
                          </a:cubicBezTo>
                          <a:cubicBezTo>
                            <a:pt x="216" y="40"/>
                            <a:pt x="220" y="38"/>
                            <a:pt x="222" y="37"/>
                          </a:cubicBezTo>
                          <a:cubicBezTo>
                            <a:pt x="225" y="34"/>
                            <a:pt x="227" y="33"/>
                            <a:pt x="228" y="33"/>
                          </a:cubicBezTo>
                          <a:cubicBezTo>
                            <a:pt x="229" y="33"/>
                            <a:pt x="238" y="35"/>
                            <a:pt x="238" y="35"/>
                          </a:cubicBezTo>
                          <a:cubicBezTo>
                            <a:pt x="247" y="48"/>
                            <a:pt x="247" y="48"/>
                            <a:pt x="247" y="48"/>
                          </a:cubicBezTo>
                          <a:cubicBezTo>
                            <a:pt x="232" y="51"/>
                            <a:pt x="232" y="51"/>
                            <a:pt x="232" y="51"/>
                          </a:cubicBezTo>
                          <a:cubicBezTo>
                            <a:pt x="232" y="51"/>
                            <a:pt x="222" y="44"/>
                            <a:pt x="220" y="44"/>
                          </a:cubicBezTo>
                          <a:cubicBezTo>
                            <a:pt x="220" y="44"/>
                            <a:pt x="219" y="44"/>
                            <a:pt x="219" y="45"/>
                          </a:cubicBezTo>
                          <a:cubicBezTo>
                            <a:pt x="220" y="47"/>
                            <a:pt x="215" y="53"/>
                            <a:pt x="215" y="53"/>
                          </a:cubicBezTo>
                          <a:cubicBezTo>
                            <a:pt x="187" y="67"/>
                            <a:pt x="187" y="67"/>
                            <a:pt x="187" y="67"/>
                          </a:cubicBezTo>
                          <a:cubicBezTo>
                            <a:pt x="187" y="67"/>
                            <a:pt x="167" y="67"/>
                            <a:pt x="168" y="68"/>
                          </a:cubicBezTo>
                          <a:cubicBezTo>
                            <a:pt x="168" y="69"/>
                            <a:pt x="141" y="85"/>
                            <a:pt x="141" y="85"/>
                          </a:cubicBezTo>
                          <a:cubicBezTo>
                            <a:pt x="141" y="85"/>
                            <a:pt x="136" y="84"/>
                            <a:pt x="131" y="84"/>
                          </a:cubicBezTo>
                          <a:cubicBezTo>
                            <a:pt x="128" y="84"/>
                            <a:pt x="127" y="85"/>
                            <a:pt x="127" y="85"/>
                          </a:cubicBezTo>
                          <a:cubicBezTo>
                            <a:pt x="127" y="87"/>
                            <a:pt x="126" y="101"/>
                            <a:pt x="124" y="101"/>
                          </a:cubicBezTo>
                          <a:cubicBezTo>
                            <a:pt x="123" y="101"/>
                            <a:pt x="120" y="96"/>
                            <a:pt x="119" y="96"/>
                          </a:cubicBezTo>
                          <a:cubicBezTo>
                            <a:pt x="119" y="96"/>
                            <a:pt x="119" y="96"/>
                            <a:pt x="119" y="97"/>
                          </a:cubicBezTo>
                          <a:cubicBezTo>
                            <a:pt x="119" y="100"/>
                            <a:pt x="124" y="109"/>
                            <a:pt x="124" y="109"/>
                          </a:cubicBezTo>
                          <a:cubicBezTo>
                            <a:pt x="120" y="115"/>
                            <a:pt x="120" y="115"/>
                            <a:pt x="120" y="115"/>
                          </a:cubicBezTo>
                          <a:cubicBezTo>
                            <a:pt x="125" y="121"/>
                            <a:pt x="125" y="121"/>
                            <a:pt x="125" y="121"/>
                          </a:cubicBezTo>
                          <a:cubicBezTo>
                            <a:pt x="125" y="121"/>
                            <a:pt x="127" y="134"/>
                            <a:pt x="135" y="143"/>
                          </a:cubicBezTo>
                          <a:cubicBezTo>
                            <a:pt x="142" y="153"/>
                            <a:pt x="145" y="157"/>
                            <a:pt x="146" y="158"/>
                          </a:cubicBezTo>
                          <a:cubicBezTo>
                            <a:pt x="147" y="160"/>
                            <a:pt x="158" y="164"/>
                            <a:pt x="156" y="170"/>
                          </a:cubicBezTo>
                          <a:cubicBezTo>
                            <a:pt x="153" y="175"/>
                            <a:pt x="157" y="176"/>
                            <a:pt x="155" y="178"/>
                          </a:cubicBezTo>
                          <a:cubicBezTo>
                            <a:pt x="152" y="182"/>
                            <a:pt x="152" y="182"/>
                            <a:pt x="152" y="184"/>
                          </a:cubicBezTo>
                          <a:cubicBezTo>
                            <a:pt x="153" y="185"/>
                            <a:pt x="157" y="196"/>
                            <a:pt x="156" y="197"/>
                          </a:cubicBezTo>
                          <a:cubicBezTo>
                            <a:pt x="156" y="198"/>
                            <a:pt x="157" y="206"/>
                            <a:pt x="154" y="206"/>
                          </a:cubicBezTo>
                          <a:cubicBezTo>
                            <a:pt x="153" y="206"/>
                            <a:pt x="153" y="206"/>
                            <a:pt x="151" y="206"/>
                          </a:cubicBezTo>
                          <a:cubicBezTo>
                            <a:pt x="149" y="206"/>
                            <a:pt x="147" y="206"/>
                            <a:pt x="147" y="206"/>
                          </a:cubicBezTo>
                          <a:cubicBezTo>
                            <a:pt x="147" y="206"/>
                            <a:pt x="130" y="225"/>
                            <a:pt x="120" y="225"/>
                          </a:cubicBezTo>
                          <a:cubicBezTo>
                            <a:pt x="119" y="225"/>
                            <a:pt x="119" y="225"/>
                            <a:pt x="119" y="225"/>
                          </a:cubicBezTo>
                          <a:cubicBezTo>
                            <a:pt x="108" y="224"/>
                            <a:pt x="109" y="201"/>
                            <a:pt x="109" y="201"/>
                          </a:cubicBezTo>
                          <a:cubicBezTo>
                            <a:pt x="109" y="201"/>
                            <a:pt x="107" y="203"/>
                            <a:pt x="104" y="203"/>
                          </a:cubicBezTo>
                          <a:cubicBezTo>
                            <a:pt x="101" y="203"/>
                            <a:pt x="95" y="202"/>
                            <a:pt x="92" y="196"/>
                          </a:cubicBezTo>
                          <a:cubicBezTo>
                            <a:pt x="89" y="188"/>
                            <a:pt x="98" y="189"/>
                            <a:pt x="90" y="182"/>
                          </a:cubicBezTo>
                          <a:cubicBezTo>
                            <a:pt x="82" y="175"/>
                            <a:pt x="75" y="181"/>
                            <a:pt x="79" y="171"/>
                          </a:cubicBezTo>
                          <a:cubicBezTo>
                            <a:pt x="83" y="162"/>
                            <a:pt x="94" y="132"/>
                            <a:pt x="102" y="128"/>
                          </a:cubicBezTo>
                          <a:cubicBezTo>
                            <a:pt x="110" y="125"/>
                            <a:pt x="115" y="127"/>
                            <a:pt x="114" y="123"/>
                          </a:cubicBezTo>
                          <a:cubicBezTo>
                            <a:pt x="114" y="120"/>
                            <a:pt x="116" y="106"/>
                            <a:pt x="115" y="104"/>
                          </a:cubicBezTo>
                          <a:cubicBezTo>
                            <a:pt x="112" y="103"/>
                            <a:pt x="101" y="86"/>
                            <a:pt x="106" y="86"/>
                          </a:cubicBezTo>
                          <a:cubicBezTo>
                            <a:pt x="107" y="86"/>
                            <a:pt x="107" y="86"/>
                            <a:pt x="108" y="86"/>
                          </a:cubicBezTo>
                          <a:cubicBezTo>
                            <a:pt x="112" y="86"/>
                            <a:pt x="114" y="84"/>
                            <a:pt x="113" y="83"/>
                          </a:cubicBezTo>
                          <a:cubicBezTo>
                            <a:pt x="112" y="82"/>
                            <a:pt x="78" y="50"/>
                            <a:pt x="90" y="44"/>
                          </a:cubicBezTo>
                          <a:cubicBezTo>
                            <a:pt x="102" y="39"/>
                            <a:pt x="129" y="39"/>
                            <a:pt x="134" y="30"/>
                          </a:cubicBezTo>
                          <a:cubicBezTo>
                            <a:pt x="135" y="27"/>
                            <a:pt x="136" y="25"/>
                            <a:pt x="136" y="24"/>
                          </a:cubicBezTo>
                          <a:cubicBezTo>
                            <a:pt x="123" y="27"/>
                            <a:pt x="98" y="31"/>
                            <a:pt x="86" y="33"/>
                          </a:cubicBezTo>
                          <a:cubicBezTo>
                            <a:pt x="72" y="33"/>
                            <a:pt x="70" y="67"/>
                            <a:pt x="70" y="70"/>
                          </a:cubicBezTo>
                          <a:cubicBezTo>
                            <a:pt x="70" y="71"/>
                            <a:pt x="66" y="72"/>
                            <a:pt x="62" y="72"/>
                          </a:cubicBezTo>
                          <a:cubicBezTo>
                            <a:pt x="62" y="72"/>
                            <a:pt x="62" y="72"/>
                            <a:pt x="61" y="72"/>
                          </a:cubicBezTo>
                          <a:cubicBezTo>
                            <a:pt x="61" y="72"/>
                            <a:pt x="60" y="72"/>
                            <a:pt x="59" y="72"/>
                          </a:cubicBezTo>
                          <a:cubicBezTo>
                            <a:pt x="59" y="72"/>
                            <a:pt x="59" y="72"/>
                            <a:pt x="58" y="72"/>
                          </a:cubicBezTo>
                          <a:cubicBezTo>
                            <a:pt x="58" y="72"/>
                            <a:pt x="58" y="72"/>
                            <a:pt x="58" y="72"/>
                          </a:cubicBezTo>
                          <a:cubicBezTo>
                            <a:pt x="58" y="71"/>
                            <a:pt x="58" y="71"/>
                            <a:pt x="58" y="71"/>
                          </a:cubicBezTo>
                          <a:close/>
                        </a:path>
                      </a:pathLst>
                    </a:custGeom>
                    <a:solidFill>
                      <a:schemeClr val="accent2">
                        <a:lumMod val="40000"/>
                        <a:lumOff val="60000"/>
                      </a:schemeClr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376" name="Freeform 1105" descr="© INSCALE GmbH, 05.05.2010&#10;http://www.presentationload.com/"/>
                    <p:cNvSpPr>
                      <a:spLocks/>
                    </p:cNvSpPr>
                    <p:nvPr/>
                  </p:nvSpPr>
                  <p:spPr bwMode="auto">
                    <a:xfrm>
                      <a:off x="3035300" y="4768850"/>
                      <a:ext cx="1362075" cy="952500"/>
                    </a:xfrm>
                    <a:custGeom>
                      <a:avLst/>
                      <a:gdLst/>
                      <a:ahLst/>
                      <a:cxnLst>
                        <a:cxn ang="0">
                          <a:pos x="239" y="244"/>
                        </a:cxn>
                        <a:cxn ang="0">
                          <a:pos x="236" y="244"/>
                        </a:cxn>
                        <a:cxn ang="0">
                          <a:pos x="235" y="244"/>
                        </a:cxn>
                        <a:cxn ang="0">
                          <a:pos x="234" y="243"/>
                        </a:cxn>
                        <a:cxn ang="0">
                          <a:pos x="232" y="243"/>
                        </a:cxn>
                        <a:cxn ang="0">
                          <a:pos x="227" y="231"/>
                        </a:cxn>
                        <a:cxn ang="0">
                          <a:pos x="214" y="237"/>
                        </a:cxn>
                        <a:cxn ang="0">
                          <a:pos x="237" y="192"/>
                        </a:cxn>
                        <a:cxn ang="0">
                          <a:pos x="232" y="171"/>
                        </a:cxn>
                        <a:cxn ang="0">
                          <a:pos x="270" y="94"/>
                        </a:cxn>
                        <a:cxn ang="0">
                          <a:pos x="271" y="96"/>
                        </a:cxn>
                        <a:cxn ang="0">
                          <a:pos x="274" y="96"/>
                        </a:cxn>
                        <a:cxn ang="0">
                          <a:pos x="299" y="56"/>
                        </a:cxn>
                        <a:cxn ang="0">
                          <a:pos x="352" y="42"/>
                        </a:cxn>
                        <a:cxn ang="0">
                          <a:pos x="349" y="12"/>
                        </a:cxn>
                        <a:cxn ang="0">
                          <a:pos x="340" y="10"/>
                        </a:cxn>
                        <a:cxn ang="0">
                          <a:pos x="333" y="9"/>
                        </a:cxn>
                        <a:cxn ang="0">
                          <a:pos x="323" y="4"/>
                        </a:cxn>
                        <a:cxn ang="0">
                          <a:pos x="311" y="12"/>
                        </a:cxn>
                        <a:cxn ang="0">
                          <a:pos x="299" y="30"/>
                        </a:cxn>
                        <a:cxn ang="0">
                          <a:pos x="305" y="17"/>
                        </a:cxn>
                        <a:cxn ang="0">
                          <a:pos x="285" y="22"/>
                        </a:cxn>
                        <a:cxn ang="0">
                          <a:pos x="274" y="50"/>
                        </a:cxn>
                        <a:cxn ang="0">
                          <a:pos x="208" y="87"/>
                        </a:cxn>
                        <a:cxn ang="0">
                          <a:pos x="158" y="86"/>
                        </a:cxn>
                        <a:cxn ang="0">
                          <a:pos x="140" y="96"/>
                        </a:cxn>
                        <a:cxn ang="0">
                          <a:pos x="129" y="127"/>
                        </a:cxn>
                        <a:cxn ang="0">
                          <a:pos x="114" y="119"/>
                        </a:cxn>
                        <a:cxn ang="0">
                          <a:pos x="130" y="112"/>
                        </a:cxn>
                        <a:cxn ang="0">
                          <a:pos x="94" y="101"/>
                        </a:cxn>
                        <a:cxn ang="0">
                          <a:pos x="66" y="126"/>
                        </a:cxn>
                        <a:cxn ang="0">
                          <a:pos x="60" y="132"/>
                        </a:cxn>
                        <a:cxn ang="0">
                          <a:pos x="49" y="144"/>
                        </a:cxn>
                        <a:cxn ang="0">
                          <a:pos x="46" y="155"/>
                        </a:cxn>
                        <a:cxn ang="0">
                          <a:pos x="37" y="173"/>
                        </a:cxn>
                        <a:cxn ang="0">
                          <a:pos x="47" y="170"/>
                        </a:cxn>
                        <a:cxn ang="0">
                          <a:pos x="35" y="204"/>
                        </a:cxn>
                        <a:cxn ang="0">
                          <a:pos x="41" y="225"/>
                        </a:cxn>
                        <a:cxn ang="0">
                          <a:pos x="29" y="224"/>
                        </a:cxn>
                        <a:cxn ang="0">
                          <a:pos x="15" y="227"/>
                        </a:cxn>
                        <a:cxn ang="0">
                          <a:pos x="248" y="254"/>
                        </a:cxn>
                      </a:cxnLst>
                      <a:rect l="0" t="0" r="r" b="b"/>
                      <a:pathLst>
                        <a:path w="363" h="254">
                          <a:moveTo>
                            <a:pt x="247" y="242"/>
                          </a:moveTo>
                          <a:cubicBezTo>
                            <a:pt x="245" y="243"/>
                            <a:pt x="243" y="243"/>
                            <a:pt x="239" y="244"/>
                          </a:cubicBezTo>
                          <a:cubicBezTo>
                            <a:pt x="239" y="244"/>
                            <a:pt x="238" y="244"/>
                            <a:pt x="237" y="244"/>
                          </a:cubicBezTo>
                          <a:cubicBezTo>
                            <a:pt x="236" y="244"/>
                            <a:pt x="236" y="244"/>
                            <a:pt x="236" y="244"/>
                          </a:cubicBezTo>
                          <a:cubicBezTo>
                            <a:pt x="236" y="244"/>
                            <a:pt x="236" y="244"/>
                            <a:pt x="235" y="244"/>
                          </a:cubicBezTo>
                          <a:cubicBezTo>
                            <a:pt x="235" y="244"/>
                            <a:pt x="235" y="244"/>
                            <a:pt x="235" y="244"/>
                          </a:cubicBezTo>
                          <a:cubicBezTo>
                            <a:pt x="234" y="244"/>
                            <a:pt x="234" y="243"/>
                            <a:pt x="234" y="243"/>
                          </a:cubicBezTo>
                          <a:cubicBezTo>
                            <a:pt x="234" y="243"/>
                            <a:pt x="234" y="243"/>
                            <a:pt x="234" y="243"/>
                          </a:cubicBezTo>
                          <a:cubicBezTo>
                            <a:pt x="234" y="243"/>
                            <a:pt x="234" y="243"/>
                            <a:pt x="234" y="243"/>
                          </a:cubicBezTo>
                          <a:cubicBezTo>
                            <a:pt x="233" y="243"/>
                            <a:pt x="232" y="243"/>
                            <a:pt x="232" y="243"/>
                          </a:cubicBezTo>
                          <a:cubicBezTo>
                            <a:pt x="232" y="242"/>
                            <a:pt x="232" y="242"/>
                            <a:pt x="232" y="242"/>
                          </a:cubicBezTo>
                          <a:cubicBezTo>
                            <a:pt x="230" y="239"/>
                            <a:pt x="228" y="233"/>
                            <a:pt x="227" y="231"/>
                          </a:cubicBezTo>
                          <a:cubicBezTo>
                            <a:pt x="224" y="232"/>
                            <a:pt x="219" y="238"/>
                            <a:pt x="216" y="238"/>
                          </a:cubicBezTo>
                          <a:cubicBezTo>
                            <a:pt x="215" y="238"/>
                            <a:pt x="214" y="237"/>
                            <a:pt x="214" y="237"/>
                          </a:cubicBezTo>
                          <a:cubicBezTo>
                            <a:pt x="213" y="237"/>
                            <a:pt x="212" y="236"/>
                            <a:pt x="212" y="234"/>
                          </a:cubicBezTo>
                          <a:cubicBezTo>
                            <a:pt x="213" y="224"/>
                            <a:pt x="237" y="198"/>
                            <a:pt x="237" y="192"/>
                          </a:cubicBezTo>
                          <a:cubicBezTo>
                            <a:pt x="234" y="189"/>
                            <a:pt x="230" y="180"/>
                            <a:pt x="230" y="174"/>
                          </a:cubicBezTo>
                          <a:cubicBezTo>
                            <a:pt x="230" y="173"/>
                            <a:pt x="230" y="172"/>
                            <a:pt x="232" y="171"/>
                          </a:cubicBezTo>
                          <a:cubicBezTo>
                            <a:pt x="234" y="166"/>
                            <a:pt x="262" y="94"/>
                            <a:pt x="268" y="94"/>
                          </a:cubicBezTo>
                          <a:cubicBezTo>
                            <a:pt x="268" y="94"/>
                            <a:pt x="268" y="94"/>
                            <a:pt x="270" y="94"/>
                          </a:cubicBezTo>
                          <a:cubicBezTo>
                            <a:pt x="270" y="94"/>
                            <a:pt x="270" y="94"/>
                            <a:pt x="271" y="95"/>
                          </a:cubicBezTo>
                          <a:cubicBezTo>
                            <a:pt x="271" y="95"/>
                            <a:pt x="271" y="95"/>
                            <a:pt x="271" y="96"/>
                          </a:cubicBezTo>
                          <a:cubicBezTo>
                            <a:pt x="272" y="96"/>
                            <a:pt x="273" y="96"/>
                            <a:pt x="273" y="96"/>
                          </a:cubicBezTo>
                          <a:cubicBezTo>
                            <a:pt x="274" y="96"/>
                            <a:pt x="274" y="96"/>
                            <a:pt x="274" y="96"/>
                          </a:cubicBezTo>
                          <a:cubicBezTo>
                            <a:pt x="278" y="95"/>
                            <a:pt x="283" y="94"/>
                            <a:pt x="283" y="93"/>
                          </a:cubicBezTo>
                          <a:cubicBezTo>
                            <a:pt x="283" y="91"/>
                            <a:pt x="284" y="56"/>
                            <a:pt x="299" y="56"/>
                          </a:cubicBezTo>
                          <a:cubicBezTo>
                            <a:pt x="310" y="55"/>
                            <a:pt x="335" y="51"/>
                            <a:pt x="348" y="47"/>
                          </a:cubicBezTo>
                          <a:cubicBezTo>
                            <a:pt x="348" y="44"/>
                            <a:pt x="347" y="44"/>
                            <a:pt x="352" y="42"/>
                          </a:cubicBezTo>
                          <a:cubicBezTo>
                            <a:pt x="357" y="40"/>
                            <a:pt x="363" y="37"/>
                            <a:pt x="361" y="34"/>
                          </a:cubicBezTo>
                          <a:cubicBezTo>
                            <a:pt x="358" y="29"/>
                            <a:pt x="352" y="15"/>
                            <a:pt x="349" y="12"/>
                          </a:cubicBezTo>
                          <a:cubicBezTo>
                            <a:pt x="348" y="10"/>
                            <a:pt x="345" y="10"/>
                            <a:pt x="344" y="10"/>
                          </a:cubicBezTo>
                          <a:cubicBezTo>
                            <a:pt x="343" y="10"/>
                            <a:pt x="342" y="10"/>
                            <a:pt x="340" y="10"/>
                          </a:cubicBezTo>
                          <a:cubicBezTo>
                            <a:pt x="340" y="10"/>
                            <a:pt x="339" y="10"/>
                            <a:pt x="338" y="10"/>
                          </a:cubicBezTo>
                          <a:cubicBezTo>
                            <a:pt x="337" y="10"/>
                            <a:pt x="335" y="11"/>
                            <a:pt x="333" y="9"/>
                          </a:cubicBezTo>
                          <a:cubicBezTo>
                            <a:pt x="332" y="7"/>
                            <a:pt x="332" y="0"/>
                            <a:pt x="327" y="0"/>
                          </a:cubicBezTo>
                          <a:cubicBezTo>
                            <a:pt x="326" y="0"/>
                            <a:pt x="325" y="1"/>
                            <a:pt x="323" y="4"/>
                          </a:cubicBezTo>
                          <a:cubicBezTo>
                            <a:pt x="313" y="11"/>
                            <a:pt x="317" y="14"/>
                            <a:pt x="314" y="14"/>
                          </a:cubicBezTo>
                          <a:cubicBezTo>
                            <a:pt x="313" y="14"/>
                            <a:pt x="312" y="12"/>
                            <a:pt x="311" y="12"/>
                          </a:cubicBezTo>
                          <a:cubicBezTo>
                            <a:pt x="310" y="12"/>
                            <a:pt x="310" y="13"/>
                            <a:pt x="310" y="14"/>
                          </a:cubicBezTo>
                          <a:cubicBezTo>
                            <a:pt x="309" y="19"/>
                            <a:pt x="302" y="30"/>
                            <a:pt x="299" y="30"/>
                          </a:cubicBezTo>
                          <a:cubicBezTo>
                            <a:pt x="298" y="30"/>
                            <a:pt x="298" y="30"/>
                            <a:pt x="298" y="29"/>
                          </a:cubicBezTo>
                          <a:cubicBezTo>
                            <a:pt x="298" y="23"/>
                            <a:pt x="306" y="17"/>
                            <a:pt x="305" y="17"/>
                          </a:cubicBezTo>
                          <a:cubicBezTo>
                            <a:pt x="303" y="18"/>
                            <a:pt x="284" y="22"/>
                            <a:pt x="284" y="22"/>
                          </a:cubicBezTo>
                          <a:cubicBezTo>
                            <a:pt x="284" y="22"/>
                            <a:pt x="284" y="22"/>
                            <a:pt x="285" y="22"/>
                          </a:cubicBezTo>
                          <a:cubicBezTo>
                            <a:pt x="286" y="22"/>
                            <a:pt x="295" y="22"/>
                            <a:pt x="289" y="31"/>
                          </a:cubicBezTo>
                          <a:cubicBezTo>
                            <a:pt x="283" y="41"/>
                            <a:pt x="282" y="48"/>
                            <a:pt x="274" y="50"/>
                          </a:cubicBezTo>
                          <a:cubicBezTo>
                            <a:pt x="267" y="52"/>
                            <a:pt x="254" y="51"/>
                            <a:pt x="244" y="59"/>
                          </a:cubicBezTo>
                          <a:cubicBezTo>
                            <a:pt x="235" y="69"/>
                            <a:pt x="209" y="86"/>
                            <a:pt x="208" y="87"/>
                          </a:cubicBezTo>
                          <a:cubicBezTo>
                            <a:pt x="207" y="87"/>
                            <a:pt x="173" y="92"/>
                            <a:pt x="169" y="92"/>
                          </a:cubicBezTo>
                          <a:cubicBezTo>
                            <a:pt x="167" y="92"/>
                            <a:pt x="167" y="86"/>
                            <a:pt x="158" y="86"/>
                          </a:cubicBezTo>
                          <a:cubicBezTo>
                            <a:pt x="157" y="86"/>
                            <a:pt x="155" y="86"/>
                            <a:pt x="152" y="86"/>
                          </a:cubicBezTo>
                          <a:cubicBezTo>
                            <a:pt x="140" y="90"/>
                            <a:pt x="141" y="90"/>
                            <a:pt x="140" y="96"/>
                          </a:cubicBezTo>
                          <a:cubicBezTo>
                            <a:pt x="140" y="102"/>
                            <a:pt x="146" y="109"/>
                            <a:pt x="143" y="109"/>
                          </a:cubicBezTo>
                          <a:cubicBezTo>
                            <a:pt x="142" y="110"/>
                            <a:pt x="137" y="127"/>
                            <a:pt x="129" y="127"/>
                          </a:cubicBezTo>
                          <a:cubicBezTo>
                            <a:pt x="129" y="127"/>
                            <a:pt x="128" y="127"/>
                            <a:pt x="127" y="127"/>
                          </a:cubicBezTo>
                          <a:cubicBezTo>
                            <a:pt x="119" y="122"/>
                            <a:pt x="113" y="120"/>
                            <a:pt x="114" y="119"/>
                          </a:cubicBezTo>
                          <a:cubicBezTo>
                            <a:pt x="115" y="119"/>
                            <a:pt x="120" y="115"/>
                            <a:pt x="125" y="115"/>
                          </a:cubicBezTo>
                          <a:cubicBezTo>
                            <a:pt x="128" y="115"/>
                            <a:pt x="130" y="112"/>
                            <a:pt x="130" y="112"/>
                          </a:cubicBezTo>
                          <a:cubicBezTo>
                            <a:pt x="130" y="112"/>
                            <a:pt x="117" y="108"/>
                            <a:pt x="110" y="106"/>
                          </a:cubicBezTo>
                          <a:cubicBezTo>
                            <a:pt x="102" y="104"/>
                            <a:pt x="94" y="101"/>
                            <a:pt x="94" y="101"/>
                          </a:cubicBezTo>
                          <a:cubicBezTo>
                            <a:pt x="82" y="119"/>
                            <a:pt x="82" y="119"/>
                            <a:pt x="82" y="119"/>
                          </a:cubicBezTo>
                          <a:cubicBezTo>
                            <a:pt x="66" y="126"/>
                            <a:pt x="66" y="126"/>
                            <a:pt x="66" y="126"/>
                          </a:cubicBezTo>
                          <a:cubicBezTo>
                            <a:pt x="65" y="133"/>
                            <a:pt x="65" y="133"/>
                            <a:pt x="65" y="133"/>
                          </a:cubicBezTo>
                          <a:cubicBezTo>
                            <a:pt x="65" y="133"/>
                            <a:pt x="62" y="132"/>
                            <a:pt x="60" y="132"/>
                          </a:cubicBezTo>
                          <a:cubicBezTo>
                            <a:pt x="60" y="132"/>
                            <a:pt x="59" y="132"/>
                            <a:pt x="59" y="133"/>
                          </a:cubicBezTo>
                          <a:cubicBezTo>
                            <a:pt x="58" y="134"/>
                            <a:pt x="49" y="144"/>
                            <a:pt x="49" y="144"/>
                          </a:cubicBezTo>
                          <a:cubicBezTo>
                            <a:pt x="48" y="152"/>
                            <a:pt x="48" y="152"/>
                            <a:pt x="48" y="152"/>
                          </a:cubicBezTo>
                          <a:cubicBezTo>
                            <a:pt x="48" y="152"/>
                            <a:pt x="45" y="155"/>
                            <a:pt x="46" y="155"/>
                          </a:cubicBezTo>
                          <a:cubicBezTo>
                            <a:pt x="47" y="155"/>
                            <a:pt x="51" y="159"/>
                            <a:pt x="51" y="159"/>
                          </a:cubicBezTo>
                          <a:cubicBezTo>
                            <a:pt x="37" y="173"/>
                            <a:pt x="37" y="173"/>
                            <a:pt x="37" y="173"/>
                          </a:cubicBezTo>
                          <a:cubicBezTo>
                            <a:pt x="37" y="173"/>
                            <a:pt x="50" y="165"/>
                            <a:pt x="51" y="165"/>
                          </a:cubicBezTo>
                          <a:cubicBezTo>
                            <a:pt x="49" y="167"/>
                            <a:pt x="47" y="168"/>
                            <a:pt x="47" y="170"/>
                          </a:cubicBezTo>
                          <a:cubicBezTo>
                            <a:pt x="47" y="172"/>
                            <a:pt x="44" y="186"/>
                            <a:pt x="44" y="186"/>
                          </a:cubicBezTo>
                          <a:cubicBezTo>
                            <a:pt x="44" y="186"/>
                            <a:pt x="34" y="204"/>
                            <a:pt x="35" y="204"/>
                          </a:cubicBezTo>
                          <a:cubicBezTo>
                            <a:pt x="36" y="204"/>
                            <a:pt x="47" y="207"/>
                            <a:pt x="46" y="207"/>
                          </a:cubicBezTo>
                          <a:cubicBezTo>
                            <a:pt x="44" y="207"/>
                            <a:pt x="52" y="223"/>
                            <a:pt x="41" y="225"/>
                          </a:cubicBezTo>
                          <a:cubicBezTo>
                            <a:pt x="39" y="225"/>
                            <a:pt x="37" y="225"/>
                            <a:pt x="36" y="225"/>
                          </a:cubicBezTo>
                          <a:cubicBezTo>
                            <a:pt x="34" y="225"/>
                            <a:pt x="32" y="225"/>
                            <a:pt x="29" y="224"/>
                          </a:cubicBezTo>
                          <a:cubicBezTo>
                            <a:pt x="27" y="224"/>
                            <a:pt x="24" y="224"/>
                            <a:pt x="23" y="224"/>
                          </a:cubicBezTo>
                          <a:cubicBezTo>
                            <a:pt x="20" y="224"/>
                            <a:pt x="17" y="224"/>
                            <a:pt x="15" y="227"/>
                          </a:cubicBezTo>
                          <a:cubicBezTo>
                            <a:pt x="11" y="232"/>
                            <a:pt x="4" y="247"/>
                            <a:pt x="0" y="254"/>
                          </a:cubicBezTo>
                          <a:cubicBezTo>
                            <a:pt x="248" y="254"/>
                            <a:pt x="248" y="254"/>
                            <a:pt x="248" y="254"/>
                          </a:cubicBezTo>
                          <a:cubicBezTo>
                            <a:pt x="248" y="249"/>
                            <a:pt x="247" y="244"/>
                            <a:pt x="247" y="242"/>
                          </a:cubicBezTo>
                          <a:close/>
                        </a:path>
                      </a:pathLst>
                    </a:custGeom>
                    <a:solidFill>
                      <a:schemeClr val="accent2">
                        <a:lumMod val="40000"/>
                        <a:lumOff val="60000"/>
                      </a:schemeClr>
                    </a:solidFill>
                    <a:ln w="3175" cap="flat" cmpd="sng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/>
                    <a:lstStyle/>
                    <a:p>
                      <a:endParaRPr lang="en-GB" dirty="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grpSp>
                <p:nvGrpSpPr>
                  <p:cNvPr id="362" name="Gruppieren 361"/>
                  <p:cNvGrpSpPr/>
                  <p:nvPr/>
                </p:nvGrpSpPr>
                <p:grpSpPr>
                  <a:xfrm>
                    <a:off x="0" y="1844927"/>
                    <a:ext cx="3003992" cy="3878629"/>
                    <a:chOff x="1908175" y="-9525"/>
                    <a:chExt cx="5332413" cy="6884988"/>
                  </a:xfrm>
                  <a:solidFill>
                    <a:schemeClr val="accent2">
                      <a:lumMod val="40000"/>
                      <a:lumOff val="60000"/>
                    </a:schemeClr>
                  </a:solidFill>
                </p:grpSpPr>
                <p:sp>
                  <p:nvSpPr>
                    <p:cNvPr id="363" name="Freeform 62"/>
                    <p:cNvSpPr>
                      <a:spLocks/>
                    </p:cNvSpPr>
                    <p:nvPr/>
                  </p:nvSpPr>
                  <p:spPr bwMode="auto">
                    <a:xfrm>
                      <a:off x="6416675" y="6680200"/>
                      <a:ext cx="165100" cy="128588"/>
                    </a:xfrm>
                    <a:custGeom>
                      <a:avLst/>
                      <a:gdLst>
                        <a:gd name="T0" fmla="*/ 0 w 104"/>
                        <a:gd name="T1" fmla="*/ 0 h 81"/>
                        <a:gd name="T2" fmla="*/ 49 w 104"/>
                        <a:gd name="T3" fmla="*/ 81 h 81"/>
                        <a:gd name="T4" fmla="*/ 104 w 104"/>
                        <a:gd name="T5" fmla="*/ 43 h 81"/>
                        <a:gd name="T6" fmla="*/ 49 w 104"/>
                        <a:gd name="T7" fmla="*/ 0 h 81"/>
                        <a:gd name="T8" fmla="*/ 0 w 104"/>
                        <a:gd name="T9" fmla="*/ 0 h 8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04" h="81">
                          <a:moveTo>
                            <a:pt x="0" y="0"/>
                          </a:moveTo>
                          <a:lnTo>
                            <a:pt x="49" y="81"/>
                          </a:lnTo>
                          <a:lnTo>
                            <a:pt x="104" y="43"/>
                          </a:lnTo>
                          <a:lnTo>
                            <a:pt x="49" y="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pFill/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364" name="Freeform 63"/>
                    <p:cNvSpPr>
                      <a:spLocks/>
                    </p:cNvSpPr>
                    <p:nvPr/>
                  </p:nvSpPr>
                  <p:spPr bwMode="auto">
                    <a:xfrm>
                      <a:off x="4294188" y="2079625"/>
                      <a:ext cx="182563" cy="138113"/>
                    </a:xfrm>
                    <a:custGeom>
                      <a:avLst/>
                      <a:gdLst>
                        <a:gd name="T0" fmla="*/ 39 w 49"/>
                        <a:gd name="T1" fmla="*/ 37 h 37"/>
                        <a:gd name="T2" fmla="*/ 39 w 49"/>
                        <a:gd name="T3" fmla="*/ 0 h 37"/>
                        <a:gd name="T4" fmla="*/ 39 w 49"/>
                        <a:gd name="T5" fmla="*/ 37 h 3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</a:cxnLst>
                      <a:rect l="0" t="0" r="r" b="b"/>
                      <a:pathLst>
                        <a:path w="49" h="37">
                          <a:moveTo>
                            <a:pt x="39" y="37"/>
                          </a:moveTo>
                          <a:cubicBezTo>
                            <a:pt x="49" y="14"/>
                            <a:pt x="39" y="0"/>
                            <a:pt x="39" y="0"/>
                          </a:cubicBezTo>
                          <a:cubicBezTo>
                            <a:pt x="0" y="16"/>
                            <a:pt x="39" y="37"/>
                            <a:pt x="39" y="37"/>
                          </a:cubicBezTo>
                          <a:close/>
                        </a:path>
                      </a:pathLst>
                    </a:custGeom>
                    <a:grpFill/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365" name="Freeform 64"/>
                    <p:cNvSpPr>
                      <a:spLocks/>
                    </p:cNvSpPr>
                    <p:nvPr/>
                  </p:nvSpPr>
                  <p:spPr bwMode="auto">
                    <a:xfrm>
                      <a:off x="3146425" y="2652713"/>
                      <a:ext cx="82550" cy="184150"/>
                    </a:xfrm>
                    <a:custGeom>
                      <a:avLst/>
                      <a:gdLst>
                        <a:gd name="T0" fmla="*/ 0 w 22"/>
                        <a:gd name="T1" fmla="*/ 24 h 49"/>
                        <a:gd name="T2" fmla="*/ 0 w 22"/>
                        <a:gd name="T3" fmla="*/ 41 h 49"/>
                        <a:gd name="T4" fmla="*/ 18 w 22"/>
                        <a:gd name="T5" fmla="*/ 24 h 49"/>
                        <a:gd name="T6" fmla="*/ 0 w 22"/>
                        <a:gd name="T7" fmla="*/ 24 h 49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22" h="49">
                          <a:moveTo>
                            <a:pt x="0" y="24"/>
                          </a:moveTo>
                          <a:cubicBezTo>
                            <a:pt x="0" y="41"/>
                            <a:pt x="0" y="41"/>
                            <a:pt x="0" y="41"/>
                          </a:cubicBezTo>
                          <a:cubicBezTo>
                            <a:pt x="0" y="41"/>
                            <a:pt x="22" y="49"/>
                            <a:pt x="18" y="24"/>
                          </a:cubicBezTo>
                          <a:cubicBezTo>
                            <a:pt x="14" y="0"/>
                            <a:pt x="0" y="24"/>
                            <a:pt x="0" y="24"/>
                          </a:cubicBezTo>
                          <a:close/>
                        </a:path>
                      </a:pathLst>
                    </a:custGeom>
                    <a:grpFill/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366" name="Freeform 65"/>
                    <p:cNvSpPr>
                      <a:spLocks/>
                    </p:cNvSpPr>
                    <p:nvPr/>
                  </p:nvSpPr>
                  <p:spPr bwMode="auto">
                    <a:xfrm>
                      <a:off x="3206750" y="549275"/>
                      <a:ext cx="127000" cy="131763"/>
                    </a:xfrm>
                    <a:custGeom>
                      <a:avLst/>
                      <a:gdLst>
                        <a:gd name="T0" fmla="*/ 13 w 34"/>
                        <a:gd name="T1" fmla="*/ 35 h 35"/>
                        <a:gd name="T2" fmla="*/ 23 w 34"/>
                        <a:gd name="T3" fmla="*/ 23 h 35"/>
                        <a:gd name="T4" fmla="*/ 34 w 34"/>
                        <a:gd name="T5" fmla="*/ 18 h 35"/>
                        <a:gd name="T6" fmla="*/ 34 w 34"/>
                        <a:gd name="T7" fmla="*/ 0 h 35"/>
                        <a:gd name="T8" fmla="*/ 13 w 34"/>
                        <a:gd name="T9" fmla="*/ 0 h 35"/>
                        <a:gd name="T10" fmla="*/ 3 w 34"/>
                        <a:gd name="T11" fmla="*/ 20 h 35"/>
                        <a:gd name="T12" fmla="*/ 13 w 34"/>
                        <a:gd name="T13" fmla="*/ 35 h 3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</a:cxnLst>
                      <a:rect l="0" t="0" r="r" b="b"/>
                      <a:pathLst>
                        <a:path w="34" h="35">
                          <a:moveTo>
                            <a:pt x="13" y="35"/>
                          </a:moveTo>
                          <a:cubicBezTo>
                            <a:pt x="23" y="23"/>
                            <a:pt x="23" y="23"/>
                            <a:pt x="23" y="23"/>
                          </a:cubicBezTo>
                          <a:cubicBezTo>
                            <a:pt x="34" y="18"/>
                            <a:pt x="34" y="18"/>
                            <a:pt x="34" y="18"/>
                          </a:cubicBezTo>
                          <a:cubicBezTo>
                            <a:pt x="34" y="0"/>
                            <a:pt x="34" y="0"/>
                            <a:pt x="34" y="0"/>
                          </a:cubicBezTo>
                          <a:cubicBezTo>
                            <a:pt x="13" y="0"/>
                            <a:pt x="13" y="0"/>
                            <a:pt x="13" y="0"/>
                          </a:cubicBezTo>
                          <a:cubicBezTo>
                            <a:pt x="13" y="0"/>
                            <a:pt x="5" y="6"/>
                            <a:pt x="3" y="20"/>
                          </a:cubicBezTo>
                          <a:cubicBezTo>
                            <a:pt x="0" y="35"/>
                            <a:pt x="13" y="35"/>
                            <a:pt x="13" y="35"/>
                          </a:cubicBezTo>
                          <a:close/>
                        </a:path>
                      </a:pathLst>
                    </a:custGeom>
                    <a:grpFill/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367" name="Freeform 66"/>
                    <p:cNvSpPr>
                      <a:spLocks/>
                    </p:cNvSpPr>
                    <p:nvPr/>
                  </p:nvSpPr>
                  <p:spPr bwMode="auto">
                    <a:xfrm>
                      <a:off x="3273425" y="2600325"/>
                      <a:ext cx="198438" cy="76200"/>
                    </a:xfrm>
                    <a:custGeom>
                      <a:avLst/>
                      <a:gdLst>
                        <a:gd name="T0" fmla="*/ 125 w 125"/>
                        <a:gd name="T1" fmla="*/ 24 h 48"/>
                        <a:gd name="T2" fmla="*/ 125 w 125"/>
                        <a:gd name="T3" fmla="*/ 0 h 48"/>
                        <a:gd name="T4" fmla="*/ 38 w 125"/>
                        <a:gd name="T5" fmla="*/ 0 h 48"/>
                        <a:gd name="T6" fmla="*/ 0 w 125"/>
                        <a:gd name="T7" fmla="*/ 48 h 48"/>
                        <a:gd name="T8" fmla="*/ 88 w 125"/>
                        <a:gd name="T9" fmla="*/ 48 h 48"/>
                        <a:gd name="T10" fmla="*/ 125 w 125"/>
                        <a:gd name="T11" fmla="*/ 24 h 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25" h="48">
                          <a:moveTo>
                            <a:pt x="125" y="24"/>
                          </a:moveTo>
                          <a:lnTo>
                            <a:pt x="125" y="0"/>
                          </a:lnTo>
                          <a:lnTo>
                            <a:pt x="38" y="0"/>
                          </a:lnTo>
                          <a:lnTo>
                            <a:pt x="0" y="48"/>
                          </a:lnTo>
                          <a:lnTo>
                            <a:pt x="88" y="48"/>
                          </a:lnTo>
                          <a:lnTo>
                            <a:pt x="125" y="24"/>
                          </a:lnTo>
                          <a:close/>
                        </a:path>
                      </a:pathLst>
                    </a:custGeom>
                    <a:grpFill/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368" name="Freeform 67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2782888" y="3351213"/>
                      <a:ext cx="2073275" cy="2147888"/>
                    </a:xfrm>
                    <a:custGeom>
                      <a:avLst/>
                      <a:gdLst>
                        <a:gd name="T0" fmla="*/ 318 w 553"/>
                        <a:gd name="T1" fmla="*/ 535 h 573"/>
                        <a:gd name="T2" fmla="*/ 395 w 553"/>
                        <a:gd name="T3" fmla="*/ 548 h 573"/>
                        <a:gd name="T4" fmla="*/ 458 w 553"/>
                        <a:gd name="T5" fmla="*/ 561 h 573"/>
                        <a:gd name="T6" fmla="*/ 448 w 553"/>
                        <a:gd name="T7" fmla="*/ 476 h 573"/>
                        <a:gd name="T8" fmla="*/ 450 w 553"/>
                        <a:gd name="T9" fmla="*/ 402 h 573"/>
                        <a:gd name="T10" fmla="*/ 450 w 553"/>
                        <a:gd name="T11" fmla="*/ 343 h 573"/>
                        <a:gd name="T12" fmla="*/ 470 w 553"/>
                        <a:gd name="T13" fmla="*/ 357 h 573"/>
                        <a:gd name="T14" fmla="*/ 468 w 553"/>
                        <a:gd name="T15" fmla="*/ 314 h 573"/>
                        <a:gd name="T16" fmla="*/ 500 w 553"/>
                        <a:gd name="T17" fmla="*/ 126 h 573"/>
                        <a:gd name="T18" fmla="*/ 513 w 553"/>
                        <a:gd name="T19" fmla="*/ 25 h 573"/>
                        <a:gd name="T20" fmla="*/ 512 w 553"/>
                        <a:gd name="T21" fmla="*/ 0 h 573"/>
                        <a:gd name="T22" fmla="*/ 377 w 553"/>
                        <a:gd name="T23" fmla="*/ 48 h 573"/>
                        <a:gd name="T24" fmla="*/ 338 w 553"/>
                        <a:gd name="T25" fmla="*/ 26 h 573"/>
                        <a:gd name="T26" fmla="*/ 303 w 553"/>
                        <a:gd name="T27" fmla="*/ 60 h 573"/>
                        <a:gd name="T28" fmla="*/ 263 w 553"/>
                        <a:gd name="T29" fmla="*/ 112 h 573"/>
                        <a:gd name="T30" fmla="*/ 237 w 553"/>
                        <a:gd name="T31" fmla="*/ 139 h 573"/>
                        <a:gd name="T32" fmla="*/ 185 w 553"/>
                        <a:gd name="T33" fmla="*/ 128 h 573"/>
                        <a:gd name="T34" fmla="*/ 133 w 553"/>
                        <a:gd name="T35" fmla="*/ 156 h 573"/>
                        <a:gd name="T36" fmla="*/ 112 w 553"/>
                        <a:gd name="T37" fmla="*/ 213 h 573"/>
                        <a:gd name="T38" fmla="*/ 104 w 553"/>
                        <a:gd name="T39" fmla="*/ 227 h 573"/>
                        <a:gd name="T40" fmla="*/ 38 w 553"/>
                        <a:gd name="T41" fmla="*/ 249 h 573"/>
                        <a:gd name="T42" fmla="*/ 37 w 553"/>
                        <a:gd name="T43" fmla="*/ 264 h 573"/>
                        <a:gd name="T44" fmla="*/ 0 w 553"/>
                        <a:gd name="T45" fmla="*/ 258 h 573"/>
                        <a:gd name="T46" fmla="*/ 16 w 553"/>
                        <a:gd name="T47" fmla="*/ 276 h 573"/>
                        <a:gd name="T48" fmla="*/ 178 w 553"/>
                        <a:gd name="T49" fmla="*/ 479 h 573"/>
                        <a:gd name="T50" fmla="*/ 233 w 553"/>
                        <a:gd name="T51" fmla="*/ 521 h 573"/>
                        <a:gd name="T52" fmla="*/ 168 w 553"/>
                        <a:gd name="T53" fmla="*/ 361 h 573"/>
                        <a:gd name="T54" fmla="*/ 126 w 553"/>
                        <a:gd name="T55" fmla="*/ 344 h 573"/>
                        <a:gd name="T56" fmla="*/ 156 w 553"/>
                        <a:gd name="T57" fmla="*/ 327 h 573"/>
                        <a:gd name="T58" fmla="*/ 168 w 553"/>
                        <a:gd name="T59" fmla="*/ 361 h 573"/>
                        <a:gd name="T60" fmla="*/ 278 w 553"/>
                        <a:gd name="T61" fmla="*/ 422 h 573"/>
                        <a:gd name="T62" fmla="*/ 336 w 553"/>
                        <a:gd name="T63" fmla="*/ 511 h 573"/>
                        <a:gd name="T64" fmla="*/ 284 w 553"/>
                        <a:gd name="T65" fmla="*/ 515 h 573"/>
                        <a:gd name="T66" fmla="*/ 205 w 553"/>
                        <a:gd name="T67" fmla="*/ 387 h 57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</a:cxnLst>
                      <a:rect l="0" t="0" r="r" b="b"/>
                      <a:pathLst>
                        <a:path w="553" h="573">
                          <a:moveTo>
                            <a:pt x="283" y="532"/>
                          </a:moveTo>
                          <a:cubicBezTo>
                            <a:pt x="318" y="535"/>
                            <a:pt x="318" y="535"/>
                            <a:pt x="318" y="535"/>
                          </a:cubicBezTo>
                          <a:cubicBezTo>
                            <a:pt x="318" y="535"/>
                            <a:pt x="341" y="530"/>
                            <a:pt x="351" y="532"/>
                          </a:cubicBezTo>
                          <a:cubicBezTo>
                            <a:pt x="351" y="532"/>
                            <a:pt x="372" y="532"/>
                            <a:pt x="395" y="548"/>
                          </a:cubicBezTo>
                          <a:cubicBezTo>
                            <a:pt x="395" y="548"/>
                            <a:pt x="416" y="571"/>
                            <a:pt x="432" y="570"/>
                          </a:cubicBezTo>
                          <a:cubicBezTo>
                            <a:pt x="432" y="570"/>
                            <a:pt x="439" y="573"/>
                            <a:pt x="458" y="561"/>
                          </a:cubicBezTo>
                          <a:cubicBezTo>
                            <a:pt x="448" y="544"/>
                            <a:pt x="448" y="544"/>
                            <a:pt x="448" y="544"/>
                          </a:cubicBezTo>
                          <a:cubicBezTo>
                            <a:pt x="448" y="544"/>
                            <a:pt x="413" y="503"/>
                            <a:pt x="448" y="476"/>
                          </a:cubicBezTo>
                          <a:cubicBezTo>
                            <a:pt x="454" y="440"/>
                            <a:pt x="454" y="440"/>
                            <a:pt x="454" y="440"/>
                          </a:cubicBezTo>
                          <a:cubicBezTo>
                            <a:pt x="450" y="402"/>
                            <a:pt x="450" y="402"/>
                            <a:pt x="450" y="402"/>
                          </a:cubicBezTo>
                          <a:cubicBezTo>
                            <a:pt x="456" y="363"/>
                            <a:pt x="456" y="363"/>
                            <a:pt x="456" y="363"/>
                          </a:cubicBezTo>
                          <a:cubicBezTo>
                            <a:pt x="450" y="343"/>
                            <a:pt x="450" y="343"/>
                            <a:pt x="450" y="343"/>
                          </a:cubicBezTo>
                          <a:cubicBezTo>
                            <a:pt x="466" y="343"/>
                            <a:pt x="466" y="343"/>
                            <a:pt x="466" y="343"/>
                          </a:cubicBezTo>
                          <a:cubicBezTo>
                            <a:pt x="470" y="357"/>
                            <a:pt x="470" y="357"/>
                            <a:pt x="470" y="357"/>
                          </a:cubicBezTo>
                          <a:cubicBezTo>
                            <a:pt x="472" y="327"/>
                            <a:pt x="472" y="327"/>
                            <a:pt x="472" y="327"/>
                          </a:cubicBezTo>
                          <a:cubicBezTo>
                            <a:pt x="468" y="314"/>
                            <a:pt x="468" y="314"/>
                            <a:pt x="468" y="314"/>
                          </a:cubicBezTo>
                          <a:cubicBezTo>
                            <a:pt x="474" y="284"/>
                            <a:pt x="474" y="284"/>
                            <a:pt x="474" y="284"/>
                          </a:cubicBezTo>
                          <a:cubicBezTo>
                            <a:pt x="474" y="284"/>
                            <a:pt x="464" y="175"/>
                            <a:pt x="500" y="126"/>
                          </a:cubicBezTo>
                          <a:cubicBezTo>
                            <a:pt x="500" y="126"/>
                            <a:pt x="535" y="96"/>
                            <a:pt x="511" y="45"/>
                          </a:cubicBezTo>
                          <a:cubicBezTo>
                            <a:pt x="511" y="45"/>
                            <a:pt x="488" y="27"/>
                            <a:pt x="513" y="25"/>
                          </a:cubicBezTo>
                          <a:cubicBezTo>
                            <a:pt x="513" y="25"/>
                            <a:pt x="553" y="0"/>
                            <a:pt x="513" y="0"/>
                          </a:cubicBezTo>
                          <a:cubicBezTo>
                            <a:pt x="513" y="0"/>
                            <a:pt x="513" y="0"/>
                            <a:pt x="512" y="0"/>
                          </a:cubicBezTo>
                          <a:cubicBezTo>
                            <a:pt x="478" y="12"/>
                            <a:pt x="478" y="12"/>
                            <a:pt x="478" y="12"/>
                          </a:cubicBezTo>
                          <a:cubicBezTo>
                            <a:pt x="478" y="12"/>
                            <a:pt x="402" y="56"/>
                            <a:pt x="377" y="48"/>
                          </a:cubicBezTo>
                          <a:cubicBezTo>
                            <a:pt x="351" y="38"/>
                            <a:pt x="351" y="38"/>
                            <a:pt x="351" y="38"/>
                          </a:cubicBezTo>
                          <a:cubicBezTo>
                            <a:pt x="338" y="26"/>
                            <a:pt x="338" y="26"/>
                            <a:pt x="338" y="26"/>
                          </a:cubicBezTo>
                          <a:cubicBezTo>
                            <a:pt x="338" y="26"/>
                            <a:pt x="326" y="25"/>
                            <a:pt x="323" y="34"/>
                          </a:cubicBezTo>
                          <a:cubicBezTo>
                            <a:pt x="303" y="60"/>
                            <a:pt x="303" y="60"/>
                            <a:pt x="303" y="60"/>
                          </a:cubicBezTo>
                          <a:cubicBezTo>
                            <a:pt x="297" y="75"/>
                            <a:pt x="297" y="75"/>
                            <a:pt x="297" y="75"/>
                          </a:cubicBezTo>
                          <a:cubicBezTo>
                            <a:pt x="263" y="112"/>
                            <a:pt x="263" y="112"/>
                            <a:pt x="263" y="112"/>
                          </a:cubicBezTo>
                          <a:cubicBezTo>
                            <a:pt x="263" y="112"/>
                            <a:pt x="249" y="131"/>
                            <a:pt x="237" y="128"/>
                          </a:cubicBezTo>
                          <a:cubicBezTo>
                            <a:pt x="237" y="139"/>
                            <a:pt x="237" y="139"/>
                            <a:pt x="237" y="139"/>
                          </a:cubicBezTo>
                          <a:cubicBezTo>
                            <a:pt x="237" y="139"/>
                            <a:pt x="231" y="160"/>
                            <a:pt x="213" y="139"/>
                          </a:cubicBezTo>
                          <a:cubicBezTo>
                            <a:pt x="213" y="139"/>
                            <a:pt x="195" y="119"/>
                            <a:pt x="185" y="128"/>
                          </a:cubicBezTo>
                          <a:cubicBezTo>
                            <a:pt x="167" y="153"/>
                            <a:pt x="167" y="153"/>
                            <a:pt x="167" y="153"/>
                          </a:cubicBezTo>
                          <a:cubicBezTo>
                            <a:pt x="133" y="156"/>
                            <a:pt x="133" y="156"/>
                            <a:pt x="133" y="156"/>
                          </a:cubicBezTo>
                          <a:cubicBezTo>
                            <a:pt x="133" y="156"/>
                            <a:pt x="117" y="157"/>
                            <a:pt x="116" y="189"/>
                          </a:cubicBezTo>
                          <a:cubicBezTo>
                            <a:pt x="112" y="213"/>
                            <a:pt x="112" y="213"/>
                            <a:pt x="112" y="213"/>
                          </a:cubicBezTo>
                          <a:cubicBezTo>
                            <a:pt x="104" y="216"/>
                            <a:pt x="104" y="216"/>
                            <a:pt x="104" y="216"/>
                          </a:cubicBezTo>
                          <a:cubicBezTo>
                            <a:pt x="104" y="227"/>
                            <a:pt x="104" y="227"/>
                            <a:pt x="104" y="227"/>
                          </a:cubicBezTo>
                          <a:cubicBezTo>
                            <a:pt x="104" y="227"/>
                            <a:pt x="99" y="267"/>
                            <a:pt x="76" y="265"/>
                          </a:cubicBezTo>
                          <a:cubicBezTo>
                            <a:pt x="38" y="249"/>
                            <a:pt x="38" y="249"/>
                            <a:pt x="38" y="249"/>
                          </a:cubicBezTo>
                          <a:cubicBezTo>
                            <a:pt x="39" y="250"/>
                            <a:pt x="39" y="250"/>
                            <a:pt x="39" y="250"/>
                          </a:cubicBezTo>
                          <a:cubicBezTo>
                            <a:pt x="39" y="250"/>
                            <a:pt x="43" y="264"/>
                            <a:pt x="37" y="264"/>
                          </a:cubicBezTo>
                          <a:cubicBezTo>
                            <a:pt x="30" y="264"/>
                            <a:pt x="18" y="254"/>
                            <a:pt x="18" y="254"/>
                          </a:cubicBezTo>
                          <a:cubicBezTo>
                            <a:pt x="0" y="258"/>
                            <a:pt x="0" y="258"/>
                            <a:pt x="0" y="258"/>
                          </a:cubicBezTo>
                          <a:cubicBezTo>
                            <a:pt x="2" y="270"/>
                            <a:pt x="2" y="270"/>
                            <a:pt x="2" y="270"/>
                          </a:cubicBezTo>
                          <a:cubicBezTo>
                            <a:pt x="16" y="276"/>
                            <a:pt x="16" y="276"/>
                            <a:pt x="16" y="276"/>
                          </a:cubicBezTo>
                          <a:cubicBezTo>
                            <a:pt x="16" y="276"/>
                            <a:pt x="53" y="329"/>
                            <a:pt x="101" y="357"/>
                          </a:cubicBezTo>
                          <a:cubicBezTo>
                            <a:pt x="101" y="357"/>
                            <a:pt x="134" y="452"/>
                            <a:pt x="178" y="479"/>
                          </a:cubicBezTo>
                          <a:cubicBezTo>
                            <a:pt x="178" y="479"/>
                            <a:pt x="204" y="503"/>
                            <a:pt x="211" y="521"/>
                          </a:cubicBezTo>
                          <a:cubicBezTo>
                            <a:pt x="233" y="521"/>
                            <a:pt x="233" y="521"/>
                            <a:pt x="233" y="521"/>
                          </a:cubicBezTo>
                          <a:cubicBezTo>
                            <a:pt x="233" y="521"/>
                            <a:pt x="275" y="529"/>
                            <a:pt x="283" y="532"/>
                          </a:cubicBezTo>
                          <a:close/>
                          <a:moveTo>
                            <a:pt x="168" y="361"/>
                          </a:moveTo>
                          <a:cubicBezTo>
                            <a:pt x="154" y="361"/>
                            <a:pt x="154" y="361"/>
                            <a:pt x="154" y="361"/>
                          </a:cubicBezTo>
                          <a:cubicBezTo>
                            <a:pt x="126" y="344"/>
                            <a:pt x="126" y="344"/>
                            <a:pt x="126" y="344"/>
                          </a:cubicBezTo>
                          <a:cubicBezTo>
                            <a:pt x="140" y="327"/>
                            <a:pt x="140" y="327"/>
                            <a:pt x="140" y="327"/>
                          </a:cubicBezTo>
                          <a:cubicBezTo>
                            <a:pt x="156" y="327"/>
                            <a:pt x="156" y="327"/>
                            <a:pt x="156" y="327"/>
                          </a:cubicBezTo>
                          <a:cubicBezTo>
                            <a:pt x="168" y="345"/>
                            <a:pt x="168" y="345"/>
                            <a:pt x="168" y="345"/>
                          </a:cubicBezTo>
                          <a:lnTo>
                            <a:pt x="168" y="361"/>
                          </a:lnTo>
                          <a:close/>
                          <a:moveTo>
                            <a:pt x="231" y="387"/>
                          </a:moveTo>
                          <a:cubicBezTo>
                            <a:pt x="278" y="422"/>
                            <a:pt x="278" y="422"/>
                            <a:pt x="278" y="422"/>
                          </a:cubicBezTo>
                          <a:cubicBezTo>
                            <a:pt x="304" y="470"/>
                            <a:pt x="304" y="470"/>
                            <a:pt x="304" y="470"/>
                          </a:cubicBezTo>
                          <a:cubicBezTo>
                            <a:pt x="336" y="511"/>
                            <a:pt x="336" y="511"/>
                            <a:pt x="336" y="511"/>
                          </a:cubicBezTo>
                          <a:cubicBezTo>
                            <a:pt x="322" y="527"/>
                            <a:pt x="322" y="527"/>
                            <a:pt x="322" y="527"/>
                          </a:cubicBezTo>
                          <a:cubicBezTo>
                            <a:pt x="284" y="515"/>
                            <a:pt x="284" y="515"/>
                            <a:pt x="284" y="515"/>
                          </a:cubicBezTo>
                          <a:cubicBezTo>
                            <a:pt x="251" y="511"/>
                            <a:pt x="251" y="511"/>
                            <a:pt x="251" y="511"/>
                          </a:cubicBezTo>
                          <a:cubicBezTo>
                            <a:pt x="251" y="511"/>
                            <a:pt x="186" y="472"/>
                            <a:pt x="205" y="387"/>
                          </a:cubicBezTo>
                          <a:cubicBezTo>
                            <a:pt x="205" y="387"/>
                            <a:pt x="203" y="363"/>
                            <a:pt x="231" y="387"/>
                          </a:cubicBezTo>
                          <a:close/>
                        </a:path>
                      </a:pathLst>
                    </a:custGeom>
                    <a:grpFill/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369" name="Freeform 68"/>
                    <p:cNvSpPr>
                      <a:spLocks/>
                    </p:cNvSpPr>
                    <p:nvPr/>
                  </p:nvSpPr>
                  <p:spPr bwMode="auto">
                    <a:xfrm>
                      <a:off x="4694238" y="6046788"/>
                      <a:ext cx="2546350" cy="828675"/>
                    </a:xfrm>
                    <a:custGeom>
                      <a:avLst/>
                      <a:gdLst>
                        <a:gd name="T0" fmla="*/ 544 w 679"/>
                        <a:gd name="T1" fmla="*/ 221 h 221"/>
                        <a:gd name="T2" fmla="*/ 679 w 679"/>
                        <a:gd name="T3" fmla="*/ 221 h 221"/>
                        <a:gd name="T4" fmla="*/ 616 w 679"/>
                        <a:gd name="T5" fmla="*/ 119 h 221"/>
                        <a:gd name="T6" fmla="*/ 545 w 679"/>
                        <a:gd name="T7" fmla="*/ 64 h 221"/>
                        <a:gd name="T8" fmla="*/ 459 w 679"/>
                        <a:gd name="T9" fmla="*/ 43 h 221"/>
                        <a:gd name="T10" fmla="*/ 471 w 679"/>
                        <a:gd name="T11" fmla="*/ 24 h 221"/>
                        <a:gd name="T12" fmla="*/ 406 w 679"/>
                        <a:gd name="T13" fmla="*/ 24 h 221"/>
                        <a:gd name="T14" fmla="*/ 381 w 679"/>
                        <a:gd name="T15" fmla="*/ 45 h 221"/>
                        <a:gd name="T16" fmla="*/ 365 w 679"/>
                        <a:gd name="T17" fmla="*/ 47 h 221"/>
                        <a:gd name="T18" fmla="*/ 353 w 679"/>
                        <a:gd name="T19" fmla="*/ 63 h 221"/>
                        <a:gd name="T20" fmla="*/ 337 w 679"/>
                        <a:gd name="T21" fmla="*/ 69 h 221"/>
                        <a:gd name="T22" fmla="*/ 321 w 679"/>
                        <a:gd name="T23" fmla="*/ 78 h 221"/>
                        <a:gd name="T24" fmla="*/ 280 w 679"/>
                        <a:gd name="T25" fmla="*/ 90 h 221"/>
                        <a:gd name="T26" fmla="*/ 258 w 679"/>
                        <a:gd name="T27" fmla="*/ 106 h 221"/>
                        <a:gd name="T28" fmla="*/ 167 w 679"/>
                        <a:gd name="T29" fmla="*/ 98 h 221"/>
                        <a:gd name="T30" fmla="*/ 144 w 679"/>
                        <a:gd name="T31" fmla="*/ 71 h 221"/>
                        <a:gd name="T32" fmla="*/ 132 w 679"/>
                        <a:gd name="T33" fmla="*/ 69 h 221"/>
                        <a:gd name="T34" fmla="*/ 132 w 679"/>
                        <a:gd name="T35" fmla="*/ 96 h 221"/>
                        <a:gd name="T36" fmla="*/ 106 w 679"/>
                        <a:gd name="T37" fmla="*/ 92 h 221"/>
                        <a:gd name="T38" fmla="*/ 106 w 679"/>
                        <a:gd name="T39" fmla="*/ 65 h 221"/>
                        <a:gd name="T40" fmla="*/ 92 w 679"/>
                        <a:gd name="T41" fmla="*/ 63 h 221"/>
                        <a:gd name="T42" fmla="*/ 92 w 679"/>
                        <a:gd name="T43" fmla="*/ 43 h 221"/>
                        <a:gd name="T44" fmla="*/ 82 w 679"/>
                        <a:gd name="T45" fmla="*/ 33 h 221"/>
                        <a:gd name="T46" fmla="*/ 43 w 679"/>
                        <a:gd name="T47" fmla="*/ 2 h 221"/>
                        <a:gd name="T48" fmla="*/ 41 w 679"/>
                        <a:gd name="T49" fmla="*/ 0 h 221"/>
                        <a:gd name="T50" fmla="*/ 25 w 679"/>
                        <a:gd name="T51" fmla="*/ 24 h 221"/>
                        <a:gd name="T52" fmla="*/ 25 w 679"/>
                        <a:gd name="T53" fmla="*/ 27 h 221"/>
                        <a:gd name="T54" fmla="*/ 30 w 679"/>
                        <a:gd name="T55" fmla="*/ 80 h 221"/>
                        <a:gd name="T56" fmla="*/ 42 w 679"/>
                        <a:gd name="T57" fmla="*/ 103 h 221"/>
                        <a:gd name="T58" fmla="*/ 26 w 679"/>
                        <a:gd name="T59" fmla="*/ 117 h 221"/>
                        <a:gd name="T60" fmla="*/ 28 w 679"/>
                        <a:gd name="T61" fmla="*/ 134 h 221"/>
                        <a:gd name="T62" fmla="*/ 8 w 679"/>
                        <a:gd name="T63" fmla="*/ 173 h 221"/>
                        <a:gd name="T64" fmla="*/ 0 w 679"/>
                        <a:gd name="T65" fmla="*/ 179 h 221"/>
                        <a:gd name="T66" fmla="*/ 3 w 679"/>
                        <a:gd name="T67" fmla="*/ 185 h 221"/>
                        <a:gd name="T68" fmla="*/ 17 w 679"/>
                        <a:gd name="T69" fmla="*/ 221 h 221"/>
                        <a:gd name="T70" fmla="*/ 25 w 679"/>
                        <a:gd name="T71" fmla="*/ 201 h 221"/>
                        <a:gd name="T72" fmla="*/ 29 w 679"/>
                        <a:gd name="T73" fmla="*/ 181 h 221"/>
                        <a:gd name="T74" fmla="*/ 96 w 679"/>
                        <a:gd name="T75" fmla="*/ 185 h 221"/>
                        <a:gd name="T76" fmla="*/ 128 w 679"/>
                        <a:gd name="T77" fmla="*/ 197 h 221"/>
                        <a:gd name="T78" fmla="*/ 150 w 679"/>
                        <a:gd name="T79" fmla="*/ 209 h 221"/>
                        <a:gd name="T80" fmla="*/ 163 w 679"/>
                        <a:gd name="T81" fmla="*/ 221 h 221"/>
                        <a:gd name="T82" fmla="*/ 298 w 679"/>
                        <a:gd name="T83" fmla="*/ 221 h 221"/>
                        <a:gd name="T84" fmla="*/ 298 w 679"/>
                        <a:gd name="T85" fmla="*/ 209 h 221"/>
                        <a:gd name="T86" fmla="*/ 323 w 679"/>
                        <a:gd name="T87" fmla="*/ 195 h 221"/>
                        <a:gd name="T88" fmla="*/ 383 w 679"/>
                        <a:gd name="T89" fmla="*/ 155 h 221"/>
                        <a:gd name="T90" fmla="*/ 417 w 679"/>
                        <a:gd name="T91" fmla="*/ 104 h 221"/>
                        <a:gd name="T92" fmla="*/ 469 w 679"/>
                        <a:gd name="T93" fmla="*/ 108 h 221"/>
                        <a:gd name="T94" fmla="*/ 495 w 679"/>
                        <a:gd name="T95" fmla="*/ 134 h 221"/>
                        <a:gd name="T96" fmla="*/ 527 w 679"/>
                        <a:gd name="T97" fmla="*/ 155 h 221"/>
                        <a:gd name="T98" fmla="*/ 539 w 679"/>
                        <a:gd name="T99" fmla="*/ 187 h 221"/>
                        <a:gd name="T100" fmla="*/ 562 w 679"/>
                        <a:gd name="T101" fmla="*/ 173 h 221"/>
                        <a:gd name="T102" fmla="*/ 562 w 679"/>
                        <a:gd name="T103" fmla="*/ 201 h 221"/>
                        <a:gd name="T104" fmla="*/ 544 w 679"/>
                        <a:gd name="T105" fmla="*/ 221 h 22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</a:cxnLst>
                      <a:rect l="0" t="0" r="r" b="b"/>
                      <a:pathLst>
                        <a:path w="679" h="221">
                          <a:moveTo>
                            <a:pt x="544" y="221"/>
                          </a:moveTo>
                          <a:cubicBezTo>
                            <a:pt x="679" y="221"/>
                            <a:pt x="679" y="221"/>
                            <a:pt x="679" y="221"/>
                          </a:cubicBezTo>
                          <a:cubicBezTo>
                            <a:pt x="616" y="119"/>
                            <a:pt x="616" y="119"/>
                            <a:pt x="616" y="119"/>
                          </a:cubicBezTo>
                          <a:cubicBezTo>
                            <a:pt x="545" y="64"/>
                            <a:pt x="545" y="64"/>
                            <a:pt x="545" y="64"/>
                          </a:cubicBezTo>
                          <a:cubicBezTo>
                            <a:pt x="545" y="64"/>
                            <a:pt x="512" y="31"/>
                            <a:pt x="459" y="43"/>
                          </a:cubicBezTo>
                          <a:cubicBezTo>
                            <a:pt x="471" y="24"/>
                            <a:pt x="471" y="24"/>
                            <a:pt x="471" y="24"/>
                          </a:cubicBezTo>
                          <a:cubicBezTo>
                            <a:pt x="406" y="24"/>
                            <a:pt x="406" y="24"/>
                            <a:pt x="406" y="24"/>
                          </a:cubicBezTo>
                          <a:cubicBezTo>
                            <a:pt x="381" y="45"/>
                            <a:pt x="381" y="45"/>
                            <a:pt x="381" y="45"/>
                          </a:cubicBezTo>
                          <a:cubicBezTo>
                            <a:pt x="365" y="47"/>
                            <a:pt x="365" y="47"/>
                            <a:pt x="365" y="47"/>
                          </a:cubicBezTo>
                          <a:cubicBezTo>
                            <a:pt x="353" y="63"/>
                            <a:pt x="353" y="63"/>
                            <a:pt x="353" y="63"/>
                          </a:cubicBezTo>
                          <a:cubicBezTo>
                            <a:pt x="337" y="69"/>
                            <a:pt x="337" y="69"/>
                            <a:pt x="337" y="69"/>
                          </a:cubicBezTo>
                          <a:cubicBezTo>
                            <a:pt x="321" y="78"/>
                            <a:pt x="321" y="78"/>
                            <a:pt x="321" y="78"/>
                          </a:cubicBezTo>
                          <a:cubicBezTo>
                            <a:pt x="280" y="90"/>
                            <a:pt x="280" y="90"/>
                            <a:pt x="280" y="90"/>
                          </a:cubicBezTo>
                          <a:cubicBezTo>
                            <a:pt x="280" y="90"/>
                            <a:pt x="264" y="90"/>
                            <a:pt x="258" y="106"/>
                          </a:cubicBezTo>
                          <a:cubicBezTo>
                            <a:pt x="258" y="106"/>
                            <a:pt x="217" y="140"/>
                            <a:pt x="167" y="98"/>
                          </a:cubicBezTo>
                          <a:cubicBezTo>
                            <a:pt x="144" y="71"/>
                            <a:pt x="144" y="71"/>
                            <a:pt x="144" y="71"/>
                          </a:cubicBezTo>
                          <a:cubicBezTo>
                            <a:pt x="132" y="69"/>
                            <a:pt x="132" y="69"/>
                            <a:pt x="132" y="69"/>
                          </a:cubicBezTo>
                          <a:cubicBezTo>
                            <a:pt x="132" y="96"/>
                            <a:pt x="132" y="96"/>
                            <a:pt x="132" y="96"/>
                          </a:cubicBezTo>
                          <a:cubicBezTo>
                            <a:pt x="106" y="92"/>
                            <a:pt x="106" y="92"/>
                            <a:pt x="106" y="92"/>
                          </a:cubicBezTo>
                          <a:cubicBezTo>
                            <a:pt x="106" y="65"/>
                            <a:pt x="106" y="65"/>
                            <a:pt x="106" y="65"/>
                          </a:cubicBezTo>
                          <a:cubicBezTo>
                            <a:pt x="92" y="63"/>
                            <a:pt x="92" y="63"/>
                            <a:pt x="92" y="63"/>
                          </a:cubicBezTo>
                          <a:cubicBezTo>
                            <a:pt x="92" y="43"/>
                            <a:pt x="92" y="43"/>
                            <a:pt x="92" y="43"/>
                          </a:cubicBezTo>
                          <a:cubicBezTo>
                            <a:pt x="82" y="33"/>
                            <a:pt x="82" y="33"/>
                            <a:pt x="82" y="33"/>
                          </a:cubicBezTo>
                          <a:cubicBezTo>
                            <a:pt x="43" y="2"/>
                            <a:pt x="43" y="2"/>
                            <a:pt x="43" y="2"/>
                          </a:cubicBezTo>
                          <a:cubicBezTo>
                            <a:pt x="41" y="0"/>
                            <a:pt x="41" y="0"/>
                            <a:pt x="41" y="0"/>
                          </a:cubicBezTo>
                          <a:cubicBezTo>
                            <a:pt x="35" y="6"/>
                            <a:pt x="28" y="15"/>
                            <a:pt x="25" y="24"/>
                          </a:cubicBezTo>
                          <a:cubicBezTo>
                            <a:pt x="20" y="44"/>
                            <a:pt x="25" y="27"/>
                            <a:pt x="25" y="27"/>
                          </a:cubicBezTo>
                          <a:cubicBezTo>
                            <a:pt x="25" y="27"/>
                            <a:pt x="16" y="68"/>
                            <a:pt x="30" y="80"/>
                          </a:cubicBezTo>
                          <a:cubicBezTo>
                            <a:pt x="30" y="80"/>
                            <a:pt x="54" y="93"/>
                            <a:pt x="42" y="103"/>
                          </a:cubicBezTo>
                          <a:cubicBezTo>
                            <a:pt x="26" y="117"/>
                            <a:pt x="26" y="117"/>
                            <a:pt x="26" y="117"/>
                          </a:cubicBezTo>
                          <a:cubicBezTo>
                            <a:pt x="26" y="117"/>
                            <a:pt x="17" y="128"/>
                            <a:pt x="28" y="134"/>
                          </a:cubicBezTo>
                          <a:cubicBezTo>
                            <a:pt x="28" y="134"/>
                            <a:pt x="42" y="141"/>
                            <a:pt x="8" y="173"/>
                          </a:cubicBezTo>
                          <a:cubicBezTo>
                            <a:pt x="0" y="179"/>
                            <a:pt x="0" y="179"/>
                            <a:pt x="0" y="179"/>
                          </a:cubicBezTo>
                          <a:cubicBezTo>
                            <a:pt x="3" y="185"/>
                            <a:pt x="3" y="185"/>
                            <a:pt x="3" y="185"/>
                          </a:cubicBezTo>
                          <a:cubicBezTo>
                            <a:pt x="17" y="221"/>
                            <a:pt x="17" y="221"/>
                            <a:pt x="17" y="221"/>
                          </a:cubicBezTo>
                          <a:cubicBezTo>
                            <a:pt x="25" y="201"/>
                            <a:pt x="25" y="201"/>
                            <a:pt x="25" y="201"/>
                          </a:cubicBezTo>
                          <a:cubicBezTo>
                            <a:pt x="29" y="181"/>
                            <a:pt x="29" y="181"/>
                            <a:pt x="29" y="181"/>
                          </a:cubicBezTo>
                          <a:cubicBezTo>
                            <a:pt x="96" y="185"/>
                            <a:pt x="96" y="185"/>
                            <a:pt x="96" y="185"/>
                          </a:cubicBezTo>
                          <a:cubicBezTo>
                            <a:pt x="96" y="185"/>
                            <a:pt x="116" y="201"/>
                            <a:pt x="128" y="197"/>
                          </a:cubicBezTo>
                          <a:cubicBezTo>
                            <a:pt x="128" y="197"/>
                            <a:pt x="142" y="197"/>
                            <a:pt x="150" y="209"/>
                          </a:cubicBezTo>
                          <a:cubicBezTo>
                            <a:pt x="155" y="216"/>
                            <a:pt x="160" y="219"/>
                            <a:pt x="163" y="221"/>
                          </a:cubicBezTo>
                          <a:cubicBezTo>
                            <a:pt x="298" y="221"/>
                            <a:pt x="298" y="221"/>
                            <a:pt x="298" y="221"/>
                          </a:cubicBezTo>
                          <a:cubicBezTo>
                            <a:pt x="298" y="209"/>
                            <a:pt x="298" y="209"/>
                            <a:pt x="298" y="209"/>
                          </a:cubicBezTo>
                          <a:cubicBezTo>
                            <a:pt x="298" y="209"/>
                            <a:pt x="298" y="199"/>
                            <a:pt x="323" y="195"/>
                          </a:cubicBezTo>
                          <a:cubicBezTo>
                            <a:pt x="323" y="195"/>
                            <a:pt x="377" y="175"/>
                            <a:pt x="383" y="155"/>
                          </a:cubicBezTo>
                          <a:cubicBezTo>
                            <a:pt x="383" y="155"/>
                            <a:pt x="376" y="108"/>
                            <a:pt x="417" y="104"/>
                          </a:cubicBezTo>
                          <a:cubicBezTo>
                            <a:pt x="469" y="108"/>
                            <a:pt x="469" y="108"/>
                            <a:pt x="469" y="108"/>
                          </a:cubicBezTo>
                          <a:cubicBezTo>
                            <a:pt x="495" y="134"/>
                            <a:pt x="495" y="134"/>
                            <a:pt x="495" y="134"/>
                          </a:cubicBezTo>
                          <a:cubicBezTo>
                            <a:pt x="527" y="155"/>
                            <a:pt x="527" y="155"/>
                            <a:pt x="527" y="155"/>
                          </a:cubicBezTo>
                          <a:cubicBezTo>
                            <a:pt x="539" y="187"/>
                            <a:pt x="539" y="187"/>
                            <a:pt x="539" y="187"/>
                          </a:cubicBezTo>
                          <a:cubicBezTo>
                            <a:pt x="562" y="173"/>
                            <a:pt x="562" y="173"/>
                            <a:pt x="562" y="173"/>
                          </a:cubicBezTo>
                          <a:cubicBezTo>
                            <a:pt x="562" y="201"/>
                            <a:pt x="562" y="201"/>
                            <a:pt x="562" y="201"/>
                          </a:cubicBezTo>
                          <a:lnTo>
                            <a:pt x="544" y="221"/>
                          </a:lnTo>
                          <a:close/>
                        </a:path>
                      </a:pathLst>
                    </a:custGeom>
                    <a:grpFill/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370" name="Freeform 69"/>
                    <p:cNvSpPr>
                      <a:spLocks/>
                    </p:cNvSpPr>
                    <p:nvPr/>
                  </p:nvSpPr>
                  <p:spPr bwMode="auto">
                    <a:xfrm>
                      <a:off x="3465513" y="5305425"/>
                      <a:ext cx="1431925" cy="1412875"/>
                    </a:xfrm>
                    <a:custGeom>
                      <a:avLst/>
                      <a:gdLst>
                        <a:gd name="T0" fmla="*/ 356 w 382"/>
                        <a:gd name="T1" fmla="*/ 332 h 377"/>
                        <a:gd name="T2" fmla="*/ 354 w 382"/>
                        <a:gd name="T3" fmla="*/ 315 h 377"/>
                        <a:gd name="T4" fmla="*/ 370 w 382"/>
                        <a:gd name="T5" fmla="*/ 301 h 377"/>
                        <a:gd name="T6" fmla="*/ 358 w 382"/>
                        <a:gd name="T7" fmla="*/ 278 h 377"/>
                        <a:gd name="T8" fmla="*/ 353 w 382"/>
                        <a:gd name="T9" fmla="*/ 225 h 377"/>
                        <a:gd name="T10" fmla="*/ 353 w 382"/>
                        <a:gd name="T11" fmla="*/ 222 h 377"/>
                        <a:gd name="T12" fmla="*/ 369 w 382"/>
                        <a:gd name="T13" fmla="*/ 198 h 377"/>
                        <a:gd name="T14" fmla="*/ 308 w 382"/>
                        <a:gd name="T15" fmla="*/ 120 h 377"/>
                        <a:gd name="T16" fmla="*/ 278 w 382"/>
                        <a:gd name="T17" fmla="*/ 43 h 377"/>
                        <a:gd name="T18" fmla="*/ 276 w 382"/>
                        <a:gd name="T19" fmla="*/ 40 h 377"/>
                        <a:gd name="T20" fmla="*/ 250 w 382"/>
                        <a:gd name="T21" fmla="*/ 49 h 377"/>
                        <a:gd name="T22" fmla="*/ 213 w 382"/>
                        <a:gd name="T23" fmla="*/ 27 h 377"/>
                        <a:gd name="T24" fmla="*/ 169 w 382"/>
                        <a:gd name="T25" fmla="*/ 11 h 377"/>
                        <a:gd name="T26" fmla="*/ 136 w 382"/>
                        <a:gd name="T27" fmla="*/ 14 h 377"/>
                        <a:gd name="T28" fmla="*/ 101 w 382"/>
                        <a:gd name="T29" fmla="*/ 11 h 377"/>
                        <a:gd name="T30" fmla="*/ 51 w 382"/>
                        <a:gd name="T31" fmla="*/ 0 h 377"/>
                        <a:gd name="T32" fmla="*/ 29 w 382"/>
                        <a:gd name="T33" fmla="*/ 0 h 377"/>
                        <a:gd name="T34" fmla="*/ 27 w 382"/>
                        <a:gd name="T35" fmla="*/ 14 h 377"/>
                        <a:gd name="T36" fmla="*/ 21 w 382"/>
                        <a:gd name="T37" fmla="*/ 18 h 377"/>
                        <a:gd name="T38" fmla="*/ 13 w 382"/>
                        <a:gd name="T39" fmla="*/ 23 h 377"/>
                        <a:gd name="T40" fmla="*/ 39 w 382"/>
                        <a:gd name="T41" fmla="*/ 45 h 377"/>
                        <a:gd name="T42" fmla="*/ 17 w 382"/>
                        <a:gd name="T43" fmla="*/ 83 h 377"/>
                        <a:gd name="T44" fmla="*/ 43 w 382"/>
                        <a:gd name="T45" fmla="*/ 160 h 377"/>
                        <a:gd name="T46" fmla="*/ 75 w 382"/>
                        <a:gd name="T47" fmla="*/ 170 h 377"/>
                        <a:gd name="T48" fmla="*/ 90 w 382"/>
                        <a:gd name="T49" fmla="*/ 180 h 377"/>
                        <a:gd name="T50" fmla="*/ 87 w 382"/>
                        <a:gd name="T51" fmla="*/ 200 h 377"/>
                        <a:gd name="T52" fmla="*/ 102 w 382"/>
                        <a:gd name="T53" fmla="*/ 209 h 377"/>
                        <a:gd name="T54" fmla="*/ 118 w 382"/>
                        <a:gd name="T55" fmla="*/ 170 h 377"/>
                        <a:gd name="T56" fmla="*/ 114 w 382"/>
                        <a:gd name="T57" fmla="*/ 150 h 377"/>
                        <a:gd name="T58" fmla="*/ 110 w 382"/>
                        <a:gd name="T59" fmla="*/ 134 h 377"/>
                        <a:gd name="T60" fmla="*/ 130 w 382"/>
                        <a:gd name="T61" fmla="*/ 144 h 377"/>
                        <a:gd name="T62" fmla="*/ 152 w 382"/>
                        <a:gd name="T63" fmla="*/ 180 h 377"/>
                        <a:gd name="T64" fmla="*/ 166 w 382"/>
                        <a:gd name="T65" fmla="*/ 211 h 377"/>
                        <a:gd name="T66" fmla="*/ 268 w 382"/>
                        <a:gd name="T67" fmla="*/ 302 h 377"/>
                        <a:gd name="T68" fmla="*/ 286 w 382"/>
                        <a:gd name="T69" fmla="*/ 363 h 377"/>
                        <a:gd name="T70" fmla="*/ 312 w 382"/>
                        <a:gd name="T71" fmla="*/ 369 h 377"/>
                        <a:gd name="T72" fmla="*/ 304 w 382"/>
                        <a:gd name="T73" fmla="*/ 344 h 377"/>
                        <a:gd name="T74" fmla="*/ 294 w 382"/>
                        <a:gd name="T75" fmla="*/ 331 h 377"/>
                        <a:gd name="T76" fmla="*/ 290 w 382"/>
                        <a:gd name="T77" fmla="*/ 326 h 377"/>
                        <a:gd name="T78" fmla="*/ 306 w 382"/>
                        <a:gd name="T79" fmla="*/ 328 h 377"/>
                        <a:gd name="T80" fmla="*/ 325 w 382"/>
                        <a:gd name="T81" fmla="*/ 359 h 377"/>
                        <a:gd name="T82" fmla="*/ 325 w 382"/>
                        <a:gd name="T83" fmla="*/ 369 h 377"/>
                        <a:gd name="T84" fmla="*/ 328 w 382"/>
                        <a:gd name="T85" fmla="*/ 377 h 377"/>
                        <a:gd name="T86" fmla="*/ 336 w 382"/>
                        <a:gd name="T87" fmla="*/ 371 h 377"/>
                        <a:gd name="T88" fmla="*/ 356 w 382"/>
                        <a:gd name="T89" fmla="*/ 332 h 3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</a:cxnLst>
                      <a:rect l="0" t="0" r="r" b="b"/>
                      <a:pathLst>
                        <a:path w="382" h="377">
                          <a:moveTo>
                            <a:pt x="356" y="332"/>
                          </a:moveTo>
                          <a:cubicBezTo>
                            <a:pt x="345" y="326"/>
                            <a:pt x="354" y="315"/>
                            <a:pt x="354" y="315"/>
                          </a:cubicBezTo>
                          <a:cubicBezTo>
                            <a:pt x="370" y="301"/>
                            <a:pt x="370" y="301"/>
                            <a:pt x="370" y="301"/>
                          </a:cubicBezTo>
                          <a:cubicBezTo>
                            <a:pt x="382" y="291"/>
                            <a:pt x="358" y="278"/>
                            <a:pt x="358" y="278"/>
                          </a:cubicBezTo>
                          <a:cubicBezTo>
                            <a:pt x="344" y="266"/>
                            <a:pt x="353" y="225"/>
                            <a:pt x="353" y="225"/>
                          </a:cubicBezTo>
                          <a:cubicBezTo>
                            <a:pt x="353" y="225"/>
                            <a:pt x="348" y="242"/>
                            <a:pt x="353" y="222"/>
                          </a:cubicBezTo>
                          <a:cubicBezTo>
                            <a:pt x="356" y="213"/>
                            <a:pt x="363" y="204"/>
                            <a:pt x="369" y="198"/>
                          </a:cubicBezTo>
                          <a:cubicBezTo>
                            <a:pt x="308" y="120"/>
                            <a:pt x="308" y="120"/>
                            <a:pt x="308" y="120"/>
                          </a:cubicBezTo>
                          <a:cubicBezTo>
                            <a:pt x="278" y="43"/>
                            <a:pt x="278" y="43"/>
                            <a:pt x="278" y="43"/>
                          </a:cubicBezTo>
                          <a:cubicBezTo>
                            <a:pt x="276" y="40"/>
                            <a:pt x="276" y="40"/>
                            <a:pt x="276" y="40"/>
                          </a:cubicBezTo>
                          <a:cubicBezTo>
                            <a:pt x="257" y="52"/>
                            <a:pt x="250" y="49"/>
                            <a:pt x="250" y="49"/>
                          </a:cubicBezTo>
                          <a:cubicBezTo>
                            <a:pt x="234" y="50"/>
                            <a:pt x="213" y="27"/>
                            <a:pt x="213" y="27"/>
                          </a:cubicBezTo>
                          <a:cubicBezTo>
                            <a:pt x="190" y="11"/>
                            <a:pt x="169" y="11"/>
                            <a:pt x="169" y="11"/>
                          </a:cubicBezTo>
                          <a:cubicBezTo>
                            <a:pt x="159" y="9"/>
                            <a:pt x="136" y="14"/>
                            <a:pt x="136" y="14"/>
                          </a:cubicBezTo>
                          <a:cubicBezTo>
                            <a:pt x="101" y="11"/>
                            <a:pt x="101" y="11"/>
                            <a:pt x="101" y="11"/>
                          </a:cubicBezTo>
                          <a:cubicBezTo>
                            <a:pt x="93" y="8"/>
                            <a:pt x="51" y="0"/>
                            <a:pt x="51" y="0"/>
                          </a:cubicBezTo>
                          <a:cubicBezTo>
                            <a:pt x="29" y="0"/>
                            <a:pt x="29" y="0"/>
                            <a:pt x="29" y="0"/>
                          </a:cubicBezTo>
                          <a:cubicBezTo>
                            <a:pt x="31" y="6"/>
                            <a:pt x="31" y="11"/>
                            <a:pt x="27" y="14"/>
                          </a:cubicBezTo>
                          <a:cubicBezTo>
                            <a:pt x="21" y="18"/>
                            <a:pt x="21" y="18"/>
                            <a:pt x="21" y="18"/>
                          </a:cubicBezTo>
                          <a:cubicBezTo>
                            <a:pt x="13" y="23"/>
                            <a:pt x="13" y="23"/>
                            <a:pt x="13" y="23"/>
                          </a:cubicBezTo>
                          <a:cubicBezTo>
                            <a:pt x="13" y="23"/>
                            <a:pt x="39" y="39"/>
                            <a:pt x="39" y="45"/>
                          </a:cubicBezTo>
                          <a:cubicBezTo>
                            <a:pt x="39" y="45"/>
                            <a:pt x="33" y="75"/>
                            <a:pt x="17" y="83"/>
                          </a:cubicBezTo>
                          <a:cubicBezTo>
                            <a:pt x="17" y="83"/>
                            <a:pt x="0" y="134"/>
                            <a:pt x="43" y="160"/>
                          </a:cubicBezTo>
                          <a:cubicBezTo>
                            <a:pt x="75" y="170"/>
                            <a:pt x="75" y="170"/>
                            <a:pt x="75" y="170"/>
                          </a:cubicBezTo>
                          <a:cubicBezTo>
                            <a:pt x="90" y="180"/>
                            <a:pt x="90" y="180"/>
                            <a:pt x="90" y="180"/>
                          </a:cubicBezTo>
                          <a:cubicBezTo>
                            <a:pt x="87" y="200"/>
                            <a:pt x="87" y="200"/>
                            <a:pt x="87" y="200"/>
                          </a:cubicBezTo>
                          <a:cubicBezTo>
                            <a:pt x="102" y="209"/>
                            <a:pt x="102" y="209"/>
                            <a:pt x="102" y="209"/>
                          </a:cubicBezTo>
                          <a:cubicBezTo>
                            <a:pt x="118" y="170"/>
                            <a:pt x="118" y="170"/>
                            <a:pt x="118" y="170"/>
                          </a:cubicBezTo>
                          <a:cubicBezTo>
                            <a:pt x="114" y="150"/>
                            <a:pt x="114" y="150"/>
                            <a:pt x="114" y="150"/>
                          </a:cubicBezTo>
                          <a:cubicBezTo>
                            <a:pt x="110" y="134"/>
                            <a:pt x="110" y="134"/>
                            <a:pt x="110" y="134"/>
                          </a:cubicBezTo>
                          <a:cubicBezTo>
                            <a:pt x="110" y="134"/>
                            <a:pt x="118" y="128"/>
                            <a:pt x="130" y="144"/>
                          </a:cubicBezTo>
                          <a:cubicBezTo>
                            <a:pt x="130" y="144"/>
                            <a:pt x="152" y="164"/>
                            <a:pt x="152" y="180"/>
                          </a:cubicBezTo>
                          <a:cubicBezTo>
                            <a:pt x="152" y="180"/>
                            <a:pt x="144" y="201"/>
                            <a:pt x="166" y="211"/>
                          </a:cubicBezTo>
                          <a:cubicBezTo>
                            <a:pt x="166" y="211"/>
                            <a:pt x="276" y="253"/>
                            <a:pt x="268" y="302"/>
                          </a:cubicBezTo>
                          <a:cubicBezTo>
                            <a:pt x="268" y="302"/>
                            <a:pt x="235" y="338"/>
                            <a:pt x="286" y="363"/>
                          </a:cubicBezTo>
                          <a:cubicBezTo>
                            <a:pt x="312" y="369"/>
                            <a:pt x="312" y="369"/>
                            <a:pt x="312" y="369"/>
                          </a:cubicBezTo>
                          <a:cubicBezTo>
                            <a:pt x="304" y="344"/>
                            <a:pt x="304" y="344"/>
                            <a:pt x="304" y="344"/>
                          </a:cubicBezTo>
                          <a:cubicBezTo>
                            <a:pt x="294" y="331"/>
                            <a:pt x="294" y="331"/>
                            <a:pt x="294" y="331"/>
                          </a:cubicBezTo>
                          <a:cubicBezTo>
                            <a:pt x="290" y="326"/>
                            <a:pt x="290" y="326"/>
                            <a:pt x="290" y="326"/>
                          </a:cubicBezTo>
                          <a:cubicBezTo>
                            <a:pt x="306" y="328"/>
                            <a:pt x="306" y="328"/>
                            <a:pt x="306" y="328"/>
                          </a:cubicBezTo>
                          <a:cubicBezTo>
                            <a:pt x="325" y="359"/>
                            <a:pt x="325" y="359"/>
                            <a:pt x="325" y="359"/>
                          </a:cubicBezTo>
                          <a:cubicBezTo>
                            <a:pt x="325" y="369"/>
                            <a:pt x="325" y="369"/>
                            <a:pt x="325" y="369"/>
                          </a:cubicBezTo>
                          <a:cubicBezTo>
                            <a:pt x="328" y="377"/>
                            <a:pt x="328" y="377"/>
                            <a:pt x="328" y="377"/>
                          </a:cubicBezTo>
                          <a:cubicBezTo>
                            <a:pt x="336" y="371"/>
                            <a:pt x="336" y="371"/>
                            <a:pt x="336" y="371"/>
                          </a:cubicBezTo>
                          <a:cubicBezTo>
                            <a:pt x="370" y="339"/>
                            <a:pt x="356" y="332"/>
                            <a:pt x="356" y="332"/>
                          </a:cubicBezTo>
                          <a:close/>
                        </a:path>
                      </a:pathLst>
                    </a:custGeom>
                    <a:grpFill/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371" name="Freeform 70"/>
                    <p:cNvSpPr>
                      <a:spLocks/>
                    </p:cNvSpPr>
                    <p:nvPr/>
                  </p:nvSpPr>
                  <p:spPr bwMode="auto">
                    <a:xfrm>
                      <a:off x="2133600" y="2836863"/>
                      <a:ext cx="2568575" cy="1516063"/>
                    </a:xfrm>
                    <a:custGeom>
                      <a:avLst/>
                      <a:gdLst>
                        <a:gd name="T0" fmla="*/ 277 w 685"/>
                        <a:gd name="T1" fmla="*/ 364 h 404"/>
                        <a:gd name="T2" fmla="*/ 277 w 685"/>
                        <a:gd name="T3" fmla="*/ 353 h 404"/>
                        <a:gd name="T4" fmla="*/ 285 w 685"/>
                        <a:gd name="T5" fmla="*/ 350 h 404"/>
                        <a:gd name="T6" fmla="*/ 289 w 685"/>
                        <a:gd name="T7" fmla="*/ 326 h 404"/>
                        <a:gd name="T8" fmla="*/ 306 w 685"/>
                        <a:gd name="T9" fmla="*/ 293 h 404"/>
                        <a:gd name="T10" fmla="*/ 340 w 685"/>
                        <a:gd name="T11" fmla="*/ 290 h 404"/>
                        <a:gd name="T12" fmla="*/ 358 w 685"/>
                        <a:gd name="T13" fmla="*/ 265 h 404"/>
                        <a:gd name="T14" fmla="*/ 386 w 685"/>
                        <a:gd name="T15" fmla="*/ 276 h 404"/>
                        <a:gd name="T16" fmla="*/ 410 w 685"/>
                        <a:gd name="T17" fmla="*/ 276 h 404"/>
                        <a:gd name="T18" fmla="*/ 410 w 685"/>
                        <a:gd name="T19" fmla="*/ 265 h 404"/>
                        <a:gd name="T20" fmla="*/ 436 w 685"/>
                        <a:gd name="T21" fmla="*/ 249 h 404"/>
                        <a:gd name="T22" fmla="*/ 470 w 685"/>
                        <a:gd name="T23" fmla="*/ 212 h 404"/>
                        <a:gd name="T24" fmla="*/ 476 w 685"/>
                        <a:gd name="T25" fmla="*/ 197 h 404"/>
                        <a:gd name="T26" fmla="*/ 496 w 685"/>
                        <a:gd name="T27" fmla="*/ 171 h 404"/>
                        <a:gd name="T28" fmla="*/ 511 w 685"/>
                        <a:gd name="T29" fmla="*/ 163 h 404"/>
                        <a:gd name="T30" fmla="*/ 524 w 685"/>
                        <a:gd name="T31" fmla="*/ 175 h 404"/>
                        <a:gd name="T32" fmla="*/ 550 w 685"/>
                        <a:gd name="T33" fmla="*/ 185 h 404"/>
                        <a:gd name="T34" fmla="*/ 651 w 685"/>
                        <a:gd name="T35" fmla="*/ 149 h 404"/>
                        <a:gd name="T36" fmla="*/ 685 w 685"/>
                        <a:gd name="T37" fmla="*/ 137 h 404"/>
                        <a:gd name="T38" fmla="*/ 633 w 685"/>
                        <a:gd name="T39" fmla="*/ 99 h 404"/>
                        <a:gd name="T40" fmla="*/ 596 w 685"/>
                        <a:gd name="T41" fmla="*/ 97 h 404"/>
                        <a:gd name="T42" fmla="*/ 596 w 685"/>
                        <a:gd name="T43" fmla="*/ 79 h 404"/>
                        <a:gd name="T44" fmla="*/ 609 w 685"/>
                        <a:gd name="T45" fmla="*/ 79 h 404"/>
                        <a:gd name="T46" fmla="*/ 603 w 685"/>
                        <a:gd name="T47" fmla="*/ 60 h 404"/>
                        <a:gd name="T48" fmla="*/ 584 w 685"/>
                        <a:gd name="T49" fmla="*/ 30 h 404"/>
                        <a:gd name="T50" fmla="*/ 530 w 685"/>
                        <a:gd name="T51" fmla="*/ 30 h 404"/>
                        <a:gd name="T52" fmla="*/ 530 w 685"/>
                        <a:gd name="T53" fmla="*/ 20 h 404"/>
                        <a:gd name="T54" fmla="*/ 495 w 685"/>
                        <a:gd name="T55" fmla="*/ 0 h 404"/>
                        <a:gd name="T56" fmla="*/ 477 w 685"/>
                        <a:gd name="T57" fmla="*/ 8 h 404"/>
                        <a:gd name="T58" fmla="*/ 434 w 685"/>
                        <a:gd name="T59" fmla="*/ 16 h 404"/>
                        <a:gd name="T60" fmla="*/ 424 w 685"/>
                        <a:gd name="T61" fmla="*/ 0 h 404"/>
                        <a:gd name="T62" fmla="*/ 382 w 685"/>
                        <a:gd name="T63" fmla="*/ 0 h 404"/>
                        <a:gd name="T64" fmla="*/ 382 w 685"/>
                        <a:gd name="T65" fmla="*/ 14 h 404"/>
                        <a:gd name="T66" fmla="*/ 365 w 685"/>
                        <a:gd name="T67" fmla="*/ 16 h 404"/>
                        <a:gd name="T68" fmla="*/ 341 w 685"/>
                        <a:gd name="T69" fmla="*/ 30 h 404"/>
                        <a:gd name="T70" fmla="*/ 276 w 685"/>
                        <a:gd name="T71" fmla="*/ 30 h 404"/>
                        <a:gd name="T72" fmla="*/ 240 w 685"/>
                        <a:gd name="T73" fmla="*/ 14 h 404"/>
                        <a:gd name="T74" fmla="*/ 224 w 685"/>
                        <a:gd name="T75" fmla="*/ 14 h 404"/>
                        <a:gd name="T76" fmla="*/ 205 w 685"/>
                        <a:gd name="T77" fmla="*/ 16 h 404"/>
                        <a:gd name="T78" fmla="*/ 205 w 685"/>
                        <a:gd name="T79" fmla="*/ 10 h 404"/>
                        <a:gd name="T80" fmla="*/ 179 w 685"/>
                        <a:gd name="T81" fmla="*/ 8 h 404"/>
                        <a:gd name="T82" fmla="*/ 167 w 685"/>
                        <a:gd name="T83" fmla="*/ 14 h 404"/>
                        <a:gd name="T84" fmla="*/ 147 w 685"/>
                        <a:gd name="T85" fmla="*/ 30 h 404"/>
                        <a:gd name="T86" fmla="*/ 129 w 685"/>
                        <a:gd name="T87" fmla="*/ 23 h 404"/>
                        <a:gd name="T88" fmla="*/ 68 w 685"/>
                        <a:gd name="T89" fmla="*/ 80 h 404"/>
                        <a:gd name="T90" fmla="*/ 18 w 685"/>
                        <a:gd name="T91" fmla="*/ 122 h 404"/>
                        <a:gd name="T92" fmla="*/ 17 w 685"/>
                        <a:gd name="T93" fmla="*/ 159 h 404"/>
                        <a:gd name="T94" fmla="*/ 0 w 685"/>
                        <a:gd name="T95" fmla="*/ 189 h 404"/>
                        <a:gd name="T96" fmla="*/ 35 w 685"/>
                        <a:gd name="T97" fmla="*/ 215 h 404"/>
                        <a:gd name="T98" fmla="*/ 108 w 685"/>
                        <a:gd name="T99" fmla="*/ 271 h 404"/>
                        <a:gd name="T100" fmla="*/ 134 w 685"/>
                        <a:gd name="T101" fmla="*/ 254 h 404"/>
                        <a:gd name="T102" fmla="*/ 147 w 685"/>
                        <a:gd name="T103" fmla="*/ 265 h 404"/>
                        <a:gd name="T104" fmla="*/ 184 w 685"/>
                        <a:gd name="T105" fmla="*/ 288 h 404"/>
                        <a:gd name="T106" fmla="*/ 179 w 685"/>
                        <a:gd name="T107" fmla="*/ 317 h 404"/>
                        <a:gd name="T108" fmla="*/ 185 w 685"/>
                        <a:gd name="T109" fmla="*/ 341 h 404"/>
                        <a:gd name="T110" fmla="*/ 195 w 685"/>
                        <a:gd name="T111" fmla="*/ 342 h 404"/>
                        <a:gd name="T112" fmla="*/ 210 w 685"/>
                        <a:gd name="T113" fmla="*/ 346 h 404"/>
                        <a:gd name="T114" fmla="*/ 197 w 685"/>
                        <a:gd name="T115" fmla="*/ 358 h 404"/>
                        <a:gd name="T116" fmla="*/ 210 w 685"/>
                        <a:gd name="T117" fmla="*/ 374 h 404"/>
                        <a:gd name="T118" fmla="*/ 211 w 685"/>
                        <a:gd name="T119" fmla="*/ 386 h 404"/>
                        <a:gd name="T120" fmla="*/ 249 w 685"/>
                        <a:gd name="T121" fmla="*/ 402 h 404"/>
                        <a:gd name="T122" fmla="*/ 277 w 685"/>
                        <a:gd name="T123" fmla="*/ 364 h 40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</a:cxnLst>
                      <a:rect l="0" t="0" r="r" b="b"/>
                      <a:pathLst>
                        <a:path w="685" h="404">
                          <a:moveTo>
                            <a:pt x="277" y="364"/>
                          </a:moveTo>
                          <a:cubicBezTo>
                            <a:pt x="277" y="353"/>
                            <a:pt x="277" y="353"/>
                            <a:pt x="277" y="353"/>
                          </a:cubicBezTo>
                          <a:cubicBezTo>
                            <a:pt x="285" y="350"/>
                            <a:pt x="285" y="350"/>
                            <a:pt x="285" y="350"/>
                          </a:cubicBezTo>
                          <a:cubicBezTo>
                            <a:pt x="289" y="326"/>
                            <a:pt x="289" y="326"/>
                            <a:pt x="289" y="326"/>
                          </a:cubicBezTo>
                          <a:cubicBezTo>
                            <a:pt x="290" y="294"/>
                            <a:pt x="306" y="293"/>
                            <a:pt x="306" y="293"/>
                          </a:cubicBezTo>
                          <a:cubicBezTo>
                            <a:pt x="340" y="290"/>
                            <a:pt x="340" y="290"/>
                            <a:pt x="340" y="290"/>
                          </a:cubicBezTo>
                          <a:cubicBezTo>
                            <a:pt x="358" y="265"/>
                            <a:pt x="358" y="265"/>
                            <a:pt x="358" y="265"/>
                          </a:cubicBezTo>
                          <a:cubicBezTo>
                            <a:pt x="368" y="256"/>
                            <a:pt x="386" y="276"/>
                            <a:pt x="386" y="276"/>
                          </a:cubicBezTo>
                          <a:cubicBezTo>
                            <a:pt x="404" y="297"/>
                            <a:pt x="410" y="276"/>
                            <a:pt x="410" y="276"/>
                          </a:cubicBezTo>
                          <a:cubicBezTo>
                            <a:pt x="410" y="265"/>
                            <a:pt x="410" y="265"/>
                            <a:pt x="410" y="265"/>
                          </a:cubicBezTo>
                          <a:cubicBezTo>
                            <a:pt x="422" y="268"/>
                            <a:pt x="436" y="249"/>
                            <a:pt x="436" y="249"/>
                          </a:cubicBezTo>
                          <a:cubicBezTo>
                            <a:pt x="470" y="212"/>
                            <a:pt x="470" y="212"/>
                            <a:pt x="470" y="212"/>
                          </a:cubicBezTo>
                          <a:cubicBezTo>
                            <a:pt x="476" y="197"/>
                            <a:pt x="476" y="197"/>
                            <a:pt x="476" y="197"/>
                          </a:cubicBezTo>
                          <a:cubicBezTo>
                            <a:pt x="496" y="171"/>
                            <a:pt x="496" y="171"/>
                            <a:pt x="496" y="171"/>
                          </a:cubicBezTo>
                          <a:cubicBezTo>
                            <a:pt x="499" y="162"/>
                            <a:pt x="511" y="163"/>
                            <a:pt x="511" y="163"/>
                          </a:cubicBezTo>
                          <a:cubicBezTo>
                            <a:pt x="524" y="175"/>
                            <a:pt x="524" y="175"/>
                            <a:pt x="524" y="175"/>
                          </a:cubicBezTo>
                          <a:cubicBezTo>
                            <a:pt x="550" y="185"/>
                            <a:pt x="550" y="185"/>
                            <a:pt x="550" y="185"/>
                          </a:cubicBezTo>
                          <a:cubicBezTo>
                            <a:pt x="575" y="193"/>
                            <a:pt x="651" y="149"/>
                            <a:pt x="651" y="149"/>
                          </a:cubicBezTo>
                          <a:cubicBezTo>
                            <a:pt x="685" y="137"/>
                            <a:pt x="685" y="137"/>
                            <a:pt x="685" y="137"/>
                          </a:cubicBezTo>
                          <a:cubicBezTo>
                            <a:pt x="684" y="131"/>
                            <a:pt x="674" y="88"/>
                            <a:pt x="633" y="99"/>
                          </a:cubicBezTo>
                          <a:cubicBezTo>
                            <a:pt x="596" y="97"/>
                            <a:pt x="596" y="97"/>
                            <a:pt x="596" y="97"/>
                          </a:cubicBezTo>
                          <a:cubicBezTo>
                            <a:pt x="596" y="97"/>
                            <a:pt x="568" y="83"/>
                            <a:pt x="596" y="79"/>
                          </a:cubicBezTo>
                          <a:cubicBezTo>
                            <a:pt x="625" y="75"/>
                            <a:pt x="609" y="79"/>
                            <a:pt x="609" y="79"/>
                          </a:cubicBezTo>
                          <a:cubicBezTo>
                            <a:pt x="609" y="79"/>
                            <a:pt x="623" y="85"/>
                            <a:pt x="603" y="60"/>
                          </a:cubicBezTo>
                          <a:cubicBezTo>
                            <a:pt x="584" y="30"/>
                            <a:pt x="584" y="30"/>
                            <a:pt x="584" y="30"/>
                          </a:cubicBezTo>
                          <a:cubicBezTo>
                            <a:pt x="530" y="30"/>
                            <a:pt x="530" y="30"/>
                            <a:pt x="530" y="30"/>
                          </a:cubicBezTo>
                          <a:cubicBezTo>
                            <a:pt x="530" y="20"/>
                            <a:pt x="530" y="20"/>
                            <a:pt x="530" y="20"/>
                          </a:cubicBezTo>
                          <a:cubicBezTo>
                            <a:pt x="495" y="0"/>
                            <a:pt x="495" y="0"/>
                            <a:pt x="495" y="0"/>
                          </a:cubicBezTo>
                          <a:cubicBezTo>
                            <a:pt x="477" y="8"/>
                            <a:pt x="477" y="8"/>
                            <a:pt x="477" y="8"/>
                          </a:cubicBezTo>
                          <a:cubicBezTo>
                            <a:pt x="434" y="16"/>
                            <a:pt x="434" y="16"/>
                            <a:pt x="434" y="16"/>
                          </a:cubicBezTo>
                          <a:cubicBezTo>
                            <a:pt x="424" y="0"/>
                            <a:pt x="424" y="0"/>
                            <a:pt x="424" y="0"/>
                          </a:cubicBezTo>
                          <a:cubicBezTo>
                            <a:pt x="382" y="0"/>
                            <a:pt x="382" y="0"/>
                            <a:pt x="382" y="0"/>
                          </a:cubicBezTo>
                          <a:cubicBezTo>
                            <a:pt x="382" y="14"/>
                            <a:pt x="382" y="14"/>
                            <a:pt x="382" y="14"/>
                          </a:cubicBezTo>
                          <a:cubicBezTo>
                            <a:pt x="365" y="16"/>
                            <a:pt x="365" y="16"/>
                            <a:pt x="365" y="16"/>
                          </a:cubicBezTo>
                          <a:cubicBezTo>
                            <a:pt x="341" y="30"/>
                            <a:pt x="341" y="30"/>
                            <a:pt x="341" y="30"/>
                          </a:cubicBezTo>
                          <a:cubicBezTo>
                            <a:pt x="276" y="30"/>
                            <a:pt x="276" y="30"/>
                            <a:pt x="276" y="30"/>
                          </a:cubicBezTo>
                          <a:cubicBezTo>
                            <a:pt x="240" y="14"/>
                            <a:pt x="240" y="14"/>
                            <a:pt x="240" y="14"/>
                          </a:cubicBezTo>
                          <a:cubicBezTo>
                            <a:pt x="224" y="14"/>
                            <a:pt x="224" y="14"/>
                            <a:pt x="224" y="14"/>
                          </a:cubicBezTo>
                          <a:cubicBezTo>
                            <a:pt x="205" y="16"/>
                            <a:pt x="205" y="16"/>
                            <a:pt x="205" y="16"/>
                          </a:cubicBezTo>
                          <a:cubicBezTo>
                            <a:pt x="205" y="10"/>
                            <a:pt x="205" y="10"/>
                            <a:pt x="205" y="10"/>
                          </a:cubicBezTo>
                          <a:cubicBezTo>
                            <a:pt x="179" y="8"/>
                            <a:pt x="179" y="8"/>
                            <a:pt x="179" y="8"/>
                          </a:cubicBezTo>
                          <a:cubicBezTo>
                            <a:pt x="167" y="14"/>
                            <a:pt x="167" y="14"/>
                            <a:pt x="167" y="14"/>
                          </a:cubicBezTo>
                          <a:cubicBezTo>
                            <a:pt x="147" y="30"/>
                            <a:pt x="147" y="30"/>
                            <a:pt x="147" y="30"/>
                          </a:cubicBezTo>
                          <a:cubicBezTo>
                            <a:pt x="129" y="23"/>
                            <a:pt x="129" y="23"/>
                            <a:pt x="129" y="23"/>
                          </a:cubicBezTo>
                          <a:cubicBezTo>
                            <a:pt x="68" y="80"/>
                            <a:pt x="68" y="80"/>
                            <a:pt x="68" y="80"/>
                          </a:cubicBezTo>
                          <a:cubicBezTo>
                            <a:pt x="18" y="122"/>
                            <a:pt x="18" y="122"/>
                            <a:pt x="18" y="122"/>
                          </a:cubicBezTo>
                          <a:cubicBezTo>
                            <a:pt x="17" y="159"/>
                            <a:pt x="17" y="159"/>
                            <a:pt x="17" y="159"/>
                          </a:cubicBezTo>
                          <a:cubicBezTo>
                            <a:pt x="0" y="189"/>
                            <a:pt x="0" y="189"/>
                            <a:pt x="0" y="189"/>
                          </a:cubicBezTo>
                          <a:cubicBezTo>
                            <a:pt x="35" y="215"/>
                            <a:pt x="35" y="215"/>
                            <a:pt x="35" y="215"/>
                          </a:cubicBezTo>
                          <a:cubicBezTo>
                            <a:pt x="108" y="271"/>
                            <a:pt x="108" y="271"/>
                            <a:pt x="108" y="271"/>
                          </a:cubicBezTo>
                          <a:cubicBezTo>
                            <a:pt x="114" y="275"/>
                            <a:pt x="134" y="254"/>
                            <a:pt x="134" y="254"/>
                          </a:cubicBezTo>
                          <a:cubicBezTo>
                            <a:pt x="137" y="250"/>
                            <a:pt x="147" y="265"/>
                            <a:pt x="147" y="265"/>
                          </a:cubicBezTo>
                          <a:cubicBezTo>
                            <a:pt x="184" y="288"/>
                            <a:pt x="184" y="288"/>
                            <a:pt x="184" y="288"/>
                          </a:cubicBezTo>
                          <a:cubicBezTo>
                            <a:pt x="187" y="293"/>
                            <a:pt x="179" y="317"/>
                            <a:pt x="179" y="317"/>
                          </a:cubicBezTo>
                          <a:cubicBezTo>
                            <a:pt x="185" y="341"/>
                            <a:pt x="185" y="341"/>
                            <a:pt x="185" y="341"/>
                          </a:cubicBezTo>
                          <a:cubicBezTo>
                            <a:pt x="195" y="342"/>
                            <a:pt x="195" y="342"/>
                            <a:pt x="195" y="342"/>
                          </a:cubicBezTo>
                          <a:cubicBezTo>
                            <a:pt x="210" y="346"/>
                            <a:pt x="210" y="346"/>
                            <a:pt x="210" y="346"/>
                          </a:cubicBezTo>
                          <a:cubicBezTo>
                            <a:pt x="197" y="358"/>
                            <a:pt x="197" y="358"/>
                            <a:pt x="197" y="358"/>
                          </a:cubicBezTo>
                          <a:cubicBezTo>
                            <a:pt x="210" y="374"/>
                            <a:pt x="210" y="374"/>
                            <a:pt x="210" y="374"/>
                          </a:cubicBezTo>
                          <a:cubicBezTo>
                            <a:pt x="211" y="386"/>
                            <a:pt x="211" y="386"/>
                            <a:pt x="211" y="386"/>
                          </a:cubicBezTo>
                          <a:cubicBezTo>
                            <a:pt x="249" y="402"/>
                            <a:pt x="249" y="402"/>
                            <a:pt x="249" y="402"/>
                          </a:cubicBezTo>
                          <a:cubicBezTo>
                            <a:pt x="272" y="404"/>
                            <a:pt x="277" y="364"/>
                            <a:pt x="277" y="364"/>
                          </a:cubicBezTo>
                          <a:close/>
                        </a:path>
                      </a:pathLst>
                    </a:custGeom>
                    <a:grpFill/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372" name="Freeform 71"/>
                    <p:cNvSpPr>
                      <a:spLocks/>
                    </p:cNvSpPr>
                    <p:nvPr/>
                  </p:nvSpPr>
                  <p:spPr bwMode="auto">
                    <a:xfrm>
                      <a:off x="1908175" y="1801813"/>
                      <a:ext cx="927100" cy="2392363"/>
                    </a:xfrm>
                    <a:custGeom>
                      <a:avLst/>
                      <a:gdLst>
                        <a:gd name="T0" fmla="*/ 225 w 247"/>
                        <a:gd name="T1" fmla="*/ 616 h 638"/>
                        <a:gd name="T2" fmla="*/ 245 w 247"/>
                        <a:gd name="T3" fmla="*/ 617 h 638"/>
                        <a:gd name="T4" fmla="*/ 239 w 247"/>
                        <a:gd name="T5" fmla="*/ 593 h 638"/>
                        <a:gd name="T6" fmla="*/ 244 w 247"/>
                        <a:gd name="T7" fmla="*/ 564 h 638"/>
                        <a:gd name="T8" fmla="*/ 207 w 247"/>
                        <a:gd name="T9" fmla="*/ 541 h 638"/>
                        <a:gd name="T10" fmla="*/ 194 w 247"/>
                        <a:gd name="T11" fmla="*/ 530 h 638"/>
                        <a:gd name="T12" fmla="*/ 168 w 247"/>
                        <a:gd name="T13" fmla="*/ 547 h 638"/>
                        <a:gd name="T14" fmla="*/ 95 w 247"/>
                        <a:gd name="T15" fmla="*/ 491 h 638"/>
                        <a:gd name="T16" fmla="*/ 60 w 247"/>
                        <a:gd name="T17" fmla="*/ 465 h 638"/>
                        <a:gd name="T18" fmla="*/ 77 w 247"/>
                        <a:gd name="T19" fmla="*/ 435 h 638"/>
                        <a:gd name="T20" fmla="*/ 78 w 247"/>
                        <a:gd name="T21" fmla="*/ 398 h 638"/>
                        <a:gd name="T22" fmla="*/ 128 w 247"/>
                        <a:gd name="T23" fmla="*/ 356 h 638"/>
                        <a:gd name="T24" fmla="*/ 189 w 247"/>
                        <a:gd name="T25" fmla="*/ 299 h 638"/>
                        <a:gd name="T26" fmla="*/ 176 w 247"/>
                        <a:gd name="T27" fmla="*/ 294 h 638"/>
                        <a:gd name="T28" fmla="*/ 162 w 247"/>
                        <a:gd name="T29" fmla="*/ 276 h 638"/>
                        <a:gd name="T30" fmla="*/ 154 w 247"/>
                        <a:gd name="T31" fmla="*/ 276 h 638"/>
                        <a:gd name="T32" fmla="*/ 154 w 247"/>
                        <a:gd name="T33" fmla="*/ 292 h 638"/>
                        <a:gd name="T34" fmla="*/ 136 w 247"/>
                        <a:gd name="T35" fmla="*/ 286 h 638"/>
                        <a:gd name="T36" fmla="*/ 128 w 247"/>
                        <a:gd name="T37" fmla="*/ 277 h 638"/>
                        <a:gd name="T38" fmla="*/ 85 w 247"/>
                        <a:gd name="T39" fmla="*/ 269 h 638"/>
                        <a:gd name="T40" fmla="*/ 87 w 247"/>
                        <a:gd name="T41" fmla="*/ 192 h 638"/>
                        <a:gd name="T42" fmla="*/ 98 w 247"/>
                        <a:gd name="T43" fmla="*/ 98 h 638"/>
                        <a:gd name="T44" fmla="*/ 103 w 247"/>
                        <a:gd name="T45" fmla="*/ 0 h 638"/>
                        <a:gd name="T46" fmla="*/ 82 w 247"/>
                        <a:gd name="T47" fmla="*/ 2 h 638"/>
                        <a:gd name="T48" fmla="*/ 0 w 247"/>
                        <a:gd name="T49" fmla="*/ 8 h 638"/>
                        <a:gd name="T50" fmla="*/ 0 w 247"/>
                        <a:gd name="T51" fmla="*/ 580 h 638"/>
                        <a:gd name="T52" fmla="*/ 28 w 247"/>
                        <a:gd name="T53" fmla="*/ 588 h 638"/>
                        <a:gd name="T54" fmla="*/ 65 w 247"/>
                        <a:gd name="T55" fmla="*/ 604 h 638"/>
                        <a:gd name="T56" fmla="*/ 93 w 247"/>
                        <a:gd name="T57" fmla="*/ 616 h 638"/>
                        <a:gd name="T58" fmla="*/ 122 w 247"/>
                        <a:gd name="T59" fmla="*/ 626 h 638"/>
                        <a:gd name="T60" fmla="*/ 199 w 247"/>
                        <a:gd name="T61" fmla="*/ 638 h 638"/>
                        <a:gd name="T62" fmla="*/ 225 w 247"/>
                        <a:gd name="T63" fmla="*/ 636 h 638"/>
                        <a:gd name="T64" fmla="*/ 225 w 247"/>
                        <a:gd name="T65" fmla="*/ 616 h 63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</a:cxnLst>
                      <a:rect l="0" t="0" r="r" b="b"/>
                      <a:pathLst>
                        <a:path w="247" h="638">
                          <a:moveTo>
                            <a:pt x="225" y="616"/>
                          </a:moveTo>
                          <a:cubicBezTo>
                            <a:pt x="245" y="617"/>
                            <a:pt x="245" y="617"/>
                            <a:pt x="245" y="617"/>
                          </a:cubicBezTo>
                          <a:cubicBezTo>
                            <a:pt x="239" y="593"/>
                            <a:pt x="239" y="593"/>
                            <a:pt x="239" y="593"/>
                          </a:cubicBezTo>
                          <a:cubicBezTo>
                            <a:pt x="239" y="593"/>
                            <a:pt x="247" y="569"/>
                            <a:pt x="244" y="564"/>
                          </a:cubicBezTo>
                          <a:cubicBezTo>
                            <a:pt x="207" y="541"/>
                            <a:pt x="207" y="541"/>
                            <a:pt x="207" y="541"/>
                          </a:cubicBezTo>
                          <a:cubicBezTo>
                            <a:pt x="207" y="541"/>
                            <a:pt x="197" y="526"/>
                            <a:pt x="194" y="530"/>
                          </a:cubicBezTo>
                          <a:cubicBezTo>
                            <a:pt x="194" y="530"/>
                            <a:pt x="174" y="551"/>
                            <a:pt x="168" y="547"/>
                          </a:cubicBezTo>
                          <a:cubicBezTo>
                            <a:pt x="95" y="491"/>
                            <a:pt x="95" y="491"/>
                            <a:pt x="95" y="491"/>
                          </a:cubicBezTo>
                          <a:cubicBezTo>
                            <a:pt x="60" y="465"/>
                            <a:pt x="60" y="465"/>
                            <a:pt x="60" y="465"/>
                          </a:cubicBezTo>
                          <a:cubicBezTo>
                            <a:pt x="77" y="435"/>
                            <a:pt x="77" y="435"/>
                            <a:pt x="77" y="435"/>
                          </a:cubicBezTo>
                          <a:cubicBezTo>
                            <a:pt x="78" y="398"/>
                            <a:pt x="78" y="398"/>
                            <a:pt x="78" y="398"/>
                          </a:cubicBezTo>
                          <a:cubicBezTo>
                            <a:pt x="128" y="356"/>
                            <a:pt x="128" y="356"/>
                            <a:pt x="128" y="356"/>
                          </a:cubicBezTo>
                          <a:cubicBezTo>
                            <a:pt x="189" y="299"/>
                            <a:pt x="189" y="299"/>
                            <a:pt x="189" y="299"/>
                          </a:cubicBezTo>
                          <a:cubicBezTo>
                            <a:pt x="176" y="294"/>
                            <a:pt x="176" y="294"/>
                            <a:pt x="176" y="294"/>
                          </a:cubicBezTo>
                          <a:cubicBezTo>
                            <a:pt x="162" y="276"/>
                            <a:pt x="162" y="276"/>
                            <a:pt x="162" y="276"/>
                          </a:cubicBezTo>
                          <a:cubicBezTo>
                            <a:pt x="154" y="276"/>
                            <a:pt x="154" y="276"/>
                            <a:pt x="154" y="276"/>
                          </a:cubicBezTo>
                          <a:cubicBezTo>
                            <a:pt x="154" y="292"/>
                            <a:pt x="154" y="292"/>
                            <a:pt x="154" y="292"/>
                          </a:cubicBezTo>
                          <a:cubicBezTo>
                            <a:pt x="136" y="286"/>
                            <a:pt x="136" y="286"/>
                            <a:pt x="136" y="286"/>
                          </a:cubicBezTo>
                          <a:cubicBezTo>
                            <a:pt x="128" y="277"/>
                            <a:pt x="128" y="277"/>
                            <a:pt x="128" y="277"/>
                          </a:cubicBezTo>
                          <a:cubicBezTo>
                            <a:pt x="112" y="280"/>
                            <a:pt x="93" y="279"/>
                            <a:pt x="85" y="269"/>
                          </a:cubicBezTo>
                          <a:cubicBezTo>
                            <a:pt x="73" y="255"/>
                            <a:pt x="87" y="192"/>
                            <a:pt x="87" y="192"/>
                          </a:cubicBezTo>
                          <a:cubicBezTo>
                            <a:pt x="91" y="180"/>
                            <a:pt x="95" y="139"/>
                            <a:pt x="98" y="98"/>
                          </a:cubicBezTo>
                          <a:cubicBezTo>
                            <a:pt x="101" y="49"/>
                            <a:pt x="103" y="0"/>
                            <a:pt x="103" y="0"/>
                          </a:cubicBezTo>
                          <a:cubicBezTo>
                            <a:pt x="82" y="2"/>
                            <a:pt x="82" y="2"/>
                            <a:pt x="82" y="2"/>
                          </a:cubicBezTo>
                          <a:cubicBezTo>
                            <a:pt x="0" y="8"/>
                            <a:pt x="0" y="8"/>
                            <a:pt x="0" y="8"/>
                          </a:cubicBezTo>
                          <a:cubicBezTo>
                            <a:pt x="0" y="580"/>
                            <a:pt x="0" y="580"/>
                            <a:pt x="0" y="580"/>
                          </a:cubicBezTo>
                          <a:cubicBezTo>
                            <a:pt x="7" y="584"/>
                            <a:pt x="17" y="587"/>
                            <a:pt x="28" y="588"/>
                          </a:cubicBezTo>
                          <a:cubicBezTo>
                            <a:pt x="65" y="604"/>
                            <a:pt x="65" y="604"/>
                            <a:pt x="65" y="604"/>
                          </a:cubicBezTo>
                          <a:cubicBezTo>
                            <a:pt x="93" y="616"/>
                            <a:pt x="93" y="616"/>
                            <a:pt x="93" y="616"/>
                          </a:cubicBezTo>
                          <a:cubicBezTo>
                            <a:pt x="122" y="626"/>
                            <a:pt x="122" y="626"/>
                            <a:pt x="122" y="626"/>
                          </a:cubicBezTo>
                          <a:cubicBezTo>
                            <a:pt x="122" y="626"/>
                            <a:pt x="180" y="638"/>
                            <a:pt x="199" y="638"/>
                          </a:cubicBezTo>
                          <a:cubicBezTo>
                            <a:pt x="225" y="636"/>
                            <a:pt x="225" y="636"/>
                            <a:pt x="225" y="636"/>
                          </a:cubicBezTo>
                          <a:cubicBezTo>
                            <a:pt x="225" y="636"/>
                            <a:pt x="213" y="616"/>
                            <a:pt x="225" y="616"/>
                          </a:cubicBezTo>
                          <a:close/>
                        </a:path>
                      </a:pathLst>
                    </a:custGeom>
                    <a:grpFill/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373" name="Freeform 72"/>
                    <p:cNvSpPr>
                      <a:spLocks/>
                    </p:cNvSpPr>
                    <p:nvPr/>
                  </p:nvSpPr>
                  <p:spPr bwMode="auto">
                    <a:xfrm>
                      <a:off x="2182813" y="1528763"/>
                      <a:ext cx="630238" cy="1323975"/>
                    </a:xfrm>
                    <a:custGeom>
                      <a:avLst/>
                      <a:gdLst>
                        <a:gd name="T0" fmla="*/ 142 w 168"/>
                        <a:gd name="T1" fmla="*/ 56 h 353"/>
                        <a:gd name="T2" fmla="*/ 134 w 168"/>
                        <a:gd name="T3" fmla="*/ 19 h 353"/>
                        <a:gd name="T4" fmla="*/ 129 w 168"/>
                        <a:gd name="T5" fmla="*/ 0 h 353"/>
                        <a:gd name="T6" fmla="*/ 120 w 168"/>
                        <a:gd name="T7" fmla="*/ 3 h 353"/>
                        <a:gd name="T8" fmla="*/ 97 w 168"/>
                        <a:gd name="T9" fmla="*/ 26 h 353"/>
                        <a:gd name="T10" fmla="*/ 79 w 168"/>
                        <a:gd name="T11" fmla="*/ 61 h 353"/>
                        <a:gd name="T12" fmla="*/ 64 w 168"/>
                        <a:gd name="T13" fmla="*/ 73 h 353"/>
                        <a:gd name="T14" fmla="*/ 61 w 168"/>
                        <a:gd name="T15" fmla="*/ 76 h 353"/>
                        <a:gd name="T16" fmla="*/ 56 w 168"/>
                        <a:gd name="T17" fmla="*/ 73 h 353"/>
                        <a:gd name="T18" fmla="*/ 30 w 168"/>
                        <a:gd name="T19" fmla="*/ 73 h 353"/>
                        <a:gd name="T20" fmla="*/ 25 w 168"/>
                        <a:gd name="T21" fmla="*/ 171 h 353"/>
                        <a:gd name="T22" fmla="*/ 14 w 168"/>
                        <a:gd name="T23" fmla="*/ 265 h 353"/>
                        <a:gd name="T24" fmla="*/ 12 w 168"/>
                        <a:gd name="T25" fmla="*/ 342 h 353"/>
                        <a:gd name="T26" fmla="*/ 55 w 168"/>
                        <a:gd name="T27" fmla="*/ 350 h 353"/>
                        <a:gd name="T28" fmla="*/ 45 w 168"/>
                        <a:gd name="T29" fmla="*/ 338 h 353"/>
                        <a:gd name="T30" fmla="*/ 63 w 168"/>
                        <a:gd name="T31" fmla="*/ 316 h 353"/>
                        <a:gd name="T32" fmla="*/ 122 w 168"/>
                        <a:gd name="T33" fmla="*/ 223 h 353"/>
                        <a:gd name="T34" fmla="*/ 128 w 168"/>
                        <a:gd name="T35" fmla="*/ 184 h 353"/>
                        <a:gd name="T36" fmla="*/ 115 w 168"/>
                        <a:gd name="T37" fmla="*/ 150 h 353"/>
                        <a:gd name="T38" fmla="*/ 126 w 168"/>
                        <a:gd name="T39" fmla="*/ 91 h 353"/>
                        <a:gd name="T40" fmla="*/ 142 w 168"/>
                        <a:gd name="T41" fmla="*/ 56 h 35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</a:cxnLst>
                      <a:rect l="0" t="0" r="r" b="b"/>
                      <a:pathLst>
                        <a:path w="168" h="353">
                          <a:moveTo>
                            <a:pt x="142" y="56"/>
                          </a:moveTo>
                          <a:cubicBezTo>
                            <a:pt x="142" y="56"/>
                            <a:pt x="168" y="23"/>
                            <a:pt x="134" y="19"/>
                          </a:cubicBezTo>
                          <a:cubicBezTo>
                            <a:pt x="134" y="19"/>
                            <a:pt x="125" y="20"/>
                            <a:pt x="129" y="0"/>
                          </a:cubicBezTo>
                          <a:cubicBezTo>
                            <a:pt x="120" y="3"/>
                            <a:pt x="120" y="3"/>
                            <a:pt x="120" y="3"/>
                          </a:cubicBezTo>
                          <a:cubicBezTo>
                            <a:pt x="97" y="26"/>
                            <a:pt x="97" y="26"/>
                            <a:pt x="97" y="26"/>
                          </a:cubicBezTo>
                          <a:cubicBezTo>
                            <a:pt x="79" y="61"/>
                            <a:pt x="79" y="61"/>
                            <a:pt x="79" y="61"/>
                          </a:cubicBezTo>
                          <a:cubicBezTo>
                            <a:pt x="64" y="73"/>
                            <a:pt x="64" y="73"/>
                            <a:pt x="64" y="73"/>
                          </a:cubicBezTo>
                          <a:cubicBezTo>
                            <a:pt x="61" y="76"/>
                            <a:pt x="61" y="76"/>
                            <a:pt x="61" y="76"/>
                          </a:cubicBezTo>
                          <a:cubicBezTo>
                            <a:pt x="56" y="73"/>
                            <a:pt x="56" y="73"/>
                            <a:pt x="56" y="73"/>
                          </a:cubicBezTo>
                          <a:cubicBezTo>
                            <a:pt x="30" y="73"/>
                            <a:pt x="30" y="73"/>
                            <a:pt x="30" y="73"/>
                          </a:cubicBezTo>
                          <a:cubicBezTo>
                            <a:pt x="30" y="73"/>
                            <a:pt x="28" y="122"/>
                            <a:pt x="25" y="171"/>
                          </a:cubicBezTo>
                          <a:cubicBezTo>
                            <a:pt x="22" y="212"/>
                            <a:pt x="18" y="253"/>
                            <a:pt x="14" y="265"/>
                          </a:cubicBezTo>
                          <a:cubicBezTo>
                            <a:pt x="14" y="265"/>
                            <a:pt x="0" y="328"/>
                            <a:pt x="12" y="342"/>
                          </a:cubicBezTo>
                          <a:cubicBezTo>
                            <a:pt x="20" y="352"/>
                            <a:pt x="39" y="353"/>
                            <a:pt x="55" y="350"/>
                          </a:cubicBezTo>
                          <a:cubicBezTo>
                            <a:pt x="45" y="338"/>
                            <a:pt x="45" y="338"/>
                            <a:pt x="45" y="338"/>
                          </a:cubicBezTo>
                          <a:cubicBezTo>
                            <a:pt x="63" y="316"/>
                            <a:pt x="63" y="316"/>
                            <a:pt x="63" y="316"/>
                          </a:cubicBezTo>
                          <a:cubicBezTo>
                            <a:pt x="122" y="223"/>
                            <a:pt x="122" y="223"/>
                            <a:pt x="122" y="223"/>
                          </a:cubicBezTo>
                          <a:cubicBezTo>
                            <a:pt x="128" y="184"/>
                            <a:pt x="128" y="184"/>
                            <a:pt x="128" y="184"/>
                          </a:cubicBezTo>
                          <a:cubicBezTo>
                            <a:pt x="115" y="150"/>
                            <a:pt x="115" y="150"/>
                            <a:pt x="115" y="150"/>
                          </a:cubicBezTo>
                          <a:cubicBezTo>
                            <a:pt x="126" y="91"/>
                            <a:pt x="126" y="91"/>
                            <a:pt x="126" y="91"/>
                          </a:cubicBezTo>
                          <a:lnTo>
                            <a:pt x="142" y="56"/>
                          </a:lnTo>
                          <a:close/>
                        </a:path>
                      </a:pathLst>
                    </a:custGeom>
                    <a:grpFill/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374" name="Freeform 73"/>
                    <p:cNvSpPr>
                      <a:spLocks/>
                    </p:cNvSpPr>
                    <p:nvPr/>
                  </p:nvSpPr>
                  <p:spPr bwMode="auto">
                    <a:xfrm>
                      <a:off x="1908175" y="-9525"/>
                      <a:ext cx="1587500" cy="1841500"/>
                    </a:xfrm>
                    <a:custGeom>
                      <a:avLst/>
                      <a:gdLst>
                        <a:gd name="T0" fmla="*/ 359 w 423"/>
                        <a:gd name="T1" fmla="*/ 112 h 491"/>
                        <a:gd name="T2" fmla="*/ 346 w 423"/>
                        <a:gd name="T3" fmla="*/ 13 h 491"/>
                        <a:gd name="T4" fmla="*/ 320 w 423"/>
                        <a:gd name="T5" fmla="*/ 21 h 491"/>
                        <a:gd name="T6" fmla="*/ 300 w 423"/>
                        <a:gd name="T7" fmla="*/ 25 h 491"/>
                        <a:gd name="T8" fmla="*/ 227 w 423"/>
                        <a:gd name="T9" fmla="*/ 0 h 491"/>
                        <a:gd name="T10" fmla="*/ 158 w 423"/>
                        <a:gd name="T11" fmla="*/ 22 h 491"/>
                        <a:gd name="T12" fmla="*/ 34 w 423"/>
                        <a:gd name="T13" fmla="*/ 31 h 491"/>
                        <a:gd name="T14" fmla="*/ 0 w 423"/>
                        <a:gd name="T15" fmla="*/ 42 h 491"/>
                        <a:gd name="T16" fmla="*/ 0 w 423"/>
                        <a:gd name="T17" fmla="*/ 452 h 491"/>
                        <a:gd name="T18" fmla="*/ 0 w 423"/>
                        <a:gd name="T19" fmla="*/ 491 h 491"/>
                        <a:gd name="T20" fmla="*/ 82 w 423"/>
                        <a:gd name="T21" fmla="*/ 485 h 491"/>
                        <a:gd name="T22" fmla="*/ 103 w 423"/>
                        <a:gd name="T23" fmla="*/ 483 h 491"/>
                        <a:gd name="T24" fmla="*/ 129 w 423"/>
                        <a:gd name="T25" fmla="*/ 483 h 491"/>
                        <a:gd name="T26" fmla="*/ 134 w 423"/>
                        <a:gd name="T27" fmla="*/ 486 h 491"/>
                        <a:gd name="T28" fmla="*/ 137 w 423"/>
                        <a:gd name="T29" fmla="*/ 483 h 491"/>
                        <a:gd name="T30" fmla="*/ 152 w 423"/>
                        <a:gd name="T31" fmla="*/ 471 h 491"/>
                        <a:gd name="T32" fmla="*/ 170 w 423"/>
                        <a:gd name="T33" fmla="*/ 436 h 491"/>
                        <a:gd name="T34" fmla="*/ 193 w 423"/>
                        <a:gd name="T35" fmla="*/ 413 h 491"/>
                        <a:gd name="T36" fmla="*/ 202 w 423"/>
                        <a:gd name="T37" fmla="*/ 410 h 491"/>
                        <a:gd name="T38" fmla="*/ 209 w 423"/>
                        <a:gd name="T39" fmla="*/ 392 h 491"/>
                        <a:gd name="T40" fmla="*/ 231 w 423"/>
                        <a:gd name="T41" fmla="*/ 392 h 491"/>
                        <a:gd name="T42" fmla="*/ 235 w 423"/>
                        <a:gd name="T43" fmla="*/ 429 h 491"/>
                        <a:gd name="T44" fmla="*/ 239 w 423"/>
                        <a:gd name="T45" fmla="*/ 439 h 491"/>
                        <a:gd name="T46" fmla="*/ 235 w 423"/>
                        <a:gd name="T47" fmla="*/ 491 h 491"/>
                        <a:gd name="T48" fmla="*/ 249 w 423"/>
                        <a:gd name="T49" fmla="*/ 474 h 491"/>
                        <a:gd name="T50" fmla="*/ 290 w 423"/>
                        <a:gd name="T51" fmla="*/ 311 h 491"/>
                        <a:gd name="T52" fmla="*/ 282 w 423"/>
                        <a:gd name="T53" fmla="*/ 306 h 491"/>
                        <a:gd name="T54" fmla="*/ 298 w 423"/>
                        <a:gd name="T55" fmla="*/ 295 h 491"/>
                        <a:gd name="T56" fmla="*/ 296 w 423"/>
                        <a:gd name="T57" fmla="*/ 281 h 491"/>
                        <a:gd name="T58" fmla="*/ 278 w 423"/>
                        <a:gd name="T59" fmla="*/ 267 h 491"/>
                        <a:gd name="T60" fmla="*/ 292 w 423"/>
                        <a:gd name="T61" fmla="*/ 247 h 491"/>
                        <a:gd name="T62" fmla="*/ 359 w 423"/>
                        <a:gd name="T63" fmla="*/ 112 h 49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</a:cxnLst>
                      <a:rect l="0" t="0" r="r" b="b"/>
                      <a:pathLst>
                        <a:path w="423" h="491">
                          <a:moveTo>
                            <a:pt x="359" y="112"/>
                          </a:moveTo>
                          <a:cubicBezTo>
                            <a:pt x="359" y="112"/>
                            <a:pt x="423" y="40"/>
                            <a:pt x="346" y="13"/>
                          </a:cubicBezTo>
                          <a:cubicBezTo>
                            <a:pt x="320" y="21"/>
                            <a:pt x="320" y="21"/>
                            <a:pt x="320" y="21"/>
                          </a:cubicBezTo>
                          <a:cubicBezTo>
                            <a:pt x="300" y="25"/>
                            <a:pt x="300" y="25"/>
                            <a:pt x="300" y="25"/>
                          </a:cubicBezTo>
                          <a:cubicBezTo>
                            <a:pt x="300" y="25"/>
                            <a:pt x="278" y="2"/>
                            <a:pt x="227" y="0"/>
                          </a:cubicBezTo>
                          <a:cubicBezTo>
                            <a:pt x="227" y="0"/>
                            <a:pt x="186" y="1"/>
                            <a:pt x="158" y="22"/>
                          </a:cubicBezTo>
                          <a:cubicBezTo>
                            <a:pt x="158" y="22"/>
                            <a:pt x="77" y="36"/>
                            <a:pt x="34" y="31"/>
                          </a:cubicBezTo>
                          <a:cubicBezTo>
                            <a:pt x="34" y="31"/>
                            <a:pt x="17" y="35"/>
                            <a:pt x="0" y="42"/>
                          </a:cubicBezTo>
                          <a:cubicBezTo>
                            <a:pt x="0" y="452"/>
                            <a:pt x="0" y="452"/>
                            <a:pt x="0" y="452"/>
                          </a:cubicBezTo>
                          <a:cubicBezTo>
                            <a:pt x="0" y="491"/>
                            <a:pt x="0" y="491"/>
                            <a:pt x="0" y="491"/>
                          </a:cubicBezTo>
                          <a:cubicBezTo>
                            <a:pt x="82" y="485"/>
                            <a:pt x="82" y="485"/>
                            <a:pt x="82" y="485"/>
                          </a:cubicBezTo>
                          <a:cubicBezTo>
                            <a:pt x="103" y="483"/>
                            <a:pt x="103" y="483"/>
                            <a:pt x="103" y="483"/>
                          </a:cubicBezTo>
                          <a:cubicBezTo>
                            <a:pt x="129" y="483"/>
                            <a:pt x="129" y="483"/>
                            <a:pt x="129" y="483"/>
                          </a:cubicBezTo>
                          <a:cubicBezTo>
                            <a:pt x="134" y="486"/>
                            <a:pt x="134" y="486"/>
                            <a:pt x="134" y="486"/>
                          </a:cubicBezTo>
                          <a:cubicBezTo>
                            <a:pt x="137" y="483"/>
                            <a:pt x="137" y="483"/>
                            <a:pt x="137" y="483"/>
                          </a:cubicBezTo>
                          <a:cubicBezTo>
                            <a:pt x="152" y="471"/>
                            <a:pt x="152" y="471"/>
                            <a:pt x="152" y="471"/>
                          </a:cubicBezTo>
                          <a:cubicBezTo>
                            <a:pt x="170" y="436"/>
                            <a:pt x="170" y="436"/>
                            <a:pt x="170" y="436"/>
                          </a:cubicBezTo>
                          <a:cubicBezTo>
                            <a:pt x="193" y="413"/>
                            <a:pt x="193" y="413"/>
                            <a:pt x="193" y="413"/>
                          </a:cubicBezTo>
                          <a:cubicBezTo>
                            <a:pt x="202" y="410"/>
                            <a:pt x="202" y="410"/>
                            <a:pt x="202" y="410"/>
                          </a:cubicBezTo>
                          <a:cubicBezTo>
                            <a:pt x="204" y="405"/>
                            <a:pt x="206" y="399"/>
                            <a:pt x="209" y="392"/>
                          </a:cubicBezTo>
                          <a:cubicBezTo>
                            <a:pt x="209" y="392"/>
                            <a:pt x="231" y="360"/>
                            <a:pt x="231" y="392"/>
                          </a:cubicBezTo>
                          <a:cubicBezTo>
                            <a:pt x="231" y="392"/>
                            <a:pt x="221" y="397"/>
                            <a:pt x="235" y="429"/>
                          </a:cubicBezTo>
                          <a:cubicBezTo>
                            <a:pt x="249" y="461"/>
                            <a:pt x="239" y="439"/>
                            <a:pt x="239" y="439"/>
                          </a:cubicBezTo>
                          <a:cubicBezTo>
                            <a:pt x="235" y="491"/>
                            <a:pt x="235" y="491"/>
                            <a:pt x="235" y="491"/>
                          </a:cubicBezTo>
                          <a:cubicBezTo>
                            <a:pt x="249" y="474"/>
                            <a:pt x="249" y="474"/>
                            <a:pt x="249" y="474"/>
                          </a:cubicBezTo>
                          <a:cubicBezTo>
                            <a:pt x="249" y="474"/>
                            <a:pt x="296" y="346"/>
                            <a:pt x="290" y="311"/>
                          </a:cubicBezTo>
                          <a:cubicBezTo>
                            <a:pt x="282" y="306"/>
                            <a:pt x="282" y="306"/>
                            <a:pt x="282" y="306"/>
                          </a:cubicBezTo>
                          <a:cubicBezTo>
                            <a:pt x="298" y="295"/>
                            <a:pt x="298" y="295"/>
                            <a:pt x="298" y="295"/>
                          </a:cubicBezTo>
                          <a:cubicBezTo>
                            <a:pt x="296" y="281"/>
                            <a:pt x="296" y="281"/>
                            <a:pt x="296" y="281"/>
                          </a:cubicBezTo>
                          <a:cubicBezTo>
                            <a:pt x="278" y="267"/>
                            <a:pt x="278" y="267"/>
                            <a:pt x="278" y="267"/>
                          </a:cubicBezTo>
                          <a:cubicBezTo>
                            <a:pt x="292" y="247"/>
                            <a:pt x="292" y="247"/>
                            <a:pt x="292" y="247"/>
                          </a:cubicBezTo>
                          <a:cubicBezTo>
                            <a:pt x="292" y="247"/>
                            <a:pt x="292" y="180"/>
                            <a:pt x="359" y="112"/>
                          </a:cubicBezTo>
                          <a:close/>
                        </a:path>
                      </a:pathLst>
                    </a:custGeom>
                    <a:grpFill/>
                    <a:ln w="3175">
                      <a:solidFill>
                        <a:schemeClr val="bg1"/>
                      </a:solidFill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endParaRPr lang="en-US" dirty="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</p:grpSp>
          </p:grpSp>
          <p:cxnSp>
            <p:nvCxnSpPr>
              <p:cNvPr id="4" name="Gerade Verbindung 3"/>
              <p:cNvCxnSpPr>
                <a:stCxn id="372" idx="8"/>
              </p:cNvCxnSpPr>
              <p:nvPr/>
            </p:nvCxnSpPr>
            <p:spPr>
              <a:xfrm flipH="1">
                <a:off x="0" y="4300135"/>
                <a:ext cx="125360" cy="210851"/>
              </a:xfrm>
              <a:prstGeom prst="line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9" name="Gruppieren 528"/>
            <p:cNvGrpSpPr/>
            <p:nvPr/>
          </p:nvGrpSpPr>
          <p:grpSpPr>
            <a:xfrm>
              <a:off x="2053649" y="838808"/>
              <a:ext cx="396002" cy="925280"/>
              <a:chOff x="2225676" y="2437046"/>
              <a:chExt cx="396002" cy="925280"/>
            </a:xfrm>
          </p:grpSpPr>
          <p:grpSp>
            <p:nvGrpSpPr>
              <p:cNvPr id="530" name="Gruppieren 161"/>
              <p:cNvGrpSpPr/>
              <p:nvPr/>
            </p:nvGrpSpPr>
            <p:grpSpPr>
              <a:xfrm>
                <a:off x="2225676" y="2678114"/>
                <a:ext cx="396002" cy="684212"/>
                <a:chOff x="2225676" y="2678114"/>
                <a:chExt cx="396002" cy="684212"/>
              </a:xfr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532" name="Freeform 36"/>
                <p:cNvSpPr>
                  <a:spLocks/>
                </p:cNvSpPr>
                <p:nvPr/>
              </p:nvSpPr>
              <p:spPr bwMode="auto">
                <a:xfrm>
                  <a:off x="2225676" y="2678114"/>
                  <a:ext cx="198338" cy="684212"/>
                </a:xfrm>
                <a:custGeom>
                  <a:avLst/>
                  <a:gdLst/>
                  <a:ahLst/>
                  <a:cxnLst>
                    <a:cxn ang="0">
                      <a:pos x="1470" y="0"/>
                    </a:cxn>
                    <a:cxn ang="0">
                      <a:pos x="0" y="5078"/>
                    </a:cxn>
                    <a:cxn ang="0">
                      <a:pos x="1472" y="3326"/>
                    </a:cxn>
                    <a:cxn ang="0">
                      <a:pos x="1472" y="5"/>
                    </a:cxn>
                    <a:cxn ang="0">
                      <a:pos x="1470" y="0"/>
                    </a:cxn>
                  </a:cxnLst>
                  <a:rect l="0" t="0" r="r" b="b"/>
                  <a:pathLst>
                    <a:path w="1472" h="5078">
                      <a:moveTo>
                        <a:pt x="1470" y="0"/>
                      </a:moveTo>
                      <a:lnTo>
                        <a:pt x="0" y="5078"/>
                      </a:lnTo>
                      <a:lnTo>
                        <a:pt x="1472" y="3326"/>
                      </a:lnTo>
                      <a:lnTo>
                        <a:pt x="1472" y="5"/>
                      </a:lnTo>
                      <a:lnTo>
                        <a:pt x="147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1000">
                      <a:srgbClr val="595959"/>
                    </a:gs>
                    <a:gs pos="76000">
                      <a:schemeClr val="bg1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3175" cap="flat">
                  <a:solidFill>
                    <a:schemeClr val="bg1">
                      <a:lumMod val="85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33" name="Freeform 37"/>
                <p:cNvSpPr>
                  <a:spLocks/>
                </p:cNvSpPr>
                <p:nvPr/>
              </p:nvSpPr>
              <p:spPr bwMode="auto">
                <a:xfrm>
                  <a:off x="2424014" y="2678788"/>
                  <a:ext cx="197664" cy="683538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3321"/>
                    </a:cxn>
                    <a:cxn ang="0">
                      <a:pos x="1467" y="507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467" h="5073">
                      <a:moveTo>
                        <a:pt x="0" y="0"/>
                      </a:moveTo>
                      <a:lnTo>
                        <a:pt x="0" y="3321"/>
                      </a:lnTo>
                      <a:lnTo>
                        <a:pt x="1467" y="507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18000">
                      <a:srgbClr val="000000"/>
                    </a:gs>
                    <a:gs pos="94000">
                      <a:schemeClr val="bg1">
                        <a:lumMod val="50000"/>
                      </a:schemeClr>
                    </a:gs>
                    <a:gs pos="100000">
                      <a:srgbClr val="000000"/>
                    </a:gs>
                  </a:gsLst>
                  <a:path path="circle">
                    <a:fillToRect l="100000" b="100000"/>
                  </a:path>
                  <a:tileRect t="-100000" r="-100000"/>
                </a:gradFill>
                <a:ln w="3175" cap="flat">
                  <a:solidFill>
                    <a:schemeClr val="bg1">
                      <a:lumMod val="85000"/>
                    </a:scheme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531" name="Text Box 2440" descr="© INSCALE GmbH, 05.05.2010&#10;http://www.presentationload.com/"/>
              <p:cNvSpPr txBox="1">
                <a:spLocks noChangeArrowheads="1"/>
              </p:cNvSpPr>
              <p:nvPr/>
            </p:nvSpPr>
            <p:spPr bwMode="auto">
              <a:xfrm>
                <a:off x="2372620" y="2437046"/>
                <a:ext cx="134652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marL="177800" indent="-177800" defTabSz="801688"/>
                <a:r>
                  <a:rPr lang="de-DE" sz="1600" b="1" i="1" dirty="0">
                    <a:solidFill>
                      <a:srgbClr val="000000"/>
                    </a:solidFill>
                    <a:cs typeface="Calibri" pitchFamily="34" charset="0"/>
                  </a:rPr>
                  <a:t>N</a:t>
                </a:r>
              </a:p>
            </p:txBody>
          </p:sp>
        </p:grpSp>
        <p:grpSp>
          <p:nvGrpSpPr>
            <p:cNvPr id="14" name="Gruppieren 13"/>
            <p:cNvGrpSpPr/>
            <p:nvPr/>
          </p:nvGrpSpPr>
          <p:grpSpPr>
            <a:xfrm>
              <a:off x="1606681" y="1118600"/>
              <a:ext cx="7755219" cy="4931687"/>
              <a:chOff x="82680" y="1118600"/>
              <a:chExt cx="7755219" cy="4931687"/>
            </a:xfrm>
          </p:grpSpPr>
          <p:sp>
            <p:nvSpPr>
              <p:cNvPr id="534" name="Text Box 120" descr="© INSCALE GmbH, 05.05.2010&#10;http://www.presentationload.com/"/>
              <p:cNvSpPr txBox="1">
                <a:spLocks noChangeArrowheads="1"/>
              </p:cNvSpPr>
              <p:nvPr/>
            </p:nvSpPr>
            <p:spPr bwMode="auto">
              <a:xfrm>
                <a:off x="4998533" y="5865621"/>
                <a:ext cx="653512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de-DE" sz="1200" b="1" dirty="0">
                    <a:solidFill>
                      <a:schemeClr val="accent3"/>
                    </a:solidFill>
                  </a:rPr>
                  <a:t>Venezuela</a:t>
                </a:r>
              </a:p>
            </p:txBody>
          </p:sp>
          <p:sp>
            <p:nvSpPr>
              <p:cNvPr id="535" name="Text Box 120" descr="© INSCALE GmbH, 05.05.2010&#10;http://www.presentationload.com/"/>
              <p:cNvSpPr txBox="1">
                <a:spLocks noChangeArrowheads="1"/>
              </p:cNvSpPr>
              <p:nvPr/>
            </p:nvSpPr>
            <p:spPr bwMode="auto">
              <a:xfrm>
                <a:off x="82680" y="2656822"/>
                <a:ext cx="464872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de-DE" sz="1200" b="1" dirty="0">
                    <a:solidFill>
                      <a:schemeClr val="accent3"/>
                    </a:solidFill>
                  </a:rPr>
                  <a:t>Mexico</a:t>
                </a:r>
              </a:p>
            </p:txBody>
          </p:sp>
          <p:sp>
            <p:nvSpPr>
              <p:cNvPr id="536" name="Text Box 120" descr="© INSCALE GmbH, 05.05.2010&#10;http://www.presentationload.com/"/>
              <p:cNvSpPr txBox="1">
                <a:spLocks noChangeArrowheads="1"/>
              </p:cNvSpPr>
              <p:nvPr/>
            </p:nvSpPr>
            <p:spPr bwMode="auto">
              <a:xfrm>
                <a:off x="2087722" y="5820660"/>
                <a:ext cx="513154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de-DE" sz="1200" b="1" dirty="0">
                    <a:solidFill>
                      <a:schemeClr val="accent3"/>
                    </a:solidFill>
                  </a:rPr>
                  <a:t>Panama</a:t>
                </a:r>
              </a:p>
            </p:txBody>
          </p:sp>
          <p:sp>
            <p:nvSpPr>
              <p:cNvPr id="537" name="Text Box 120" descr="© INSCALE GmbH, 05.05.2010&#10;http://www.presentationload.com/"/>
              <p:cNvSpPr txBox="1">
                <a:spLocks noChangeArrowheads="1"/>
              </p:cNvSpPr>
              <p:nvPr/>
            </p:nvSpPr>
            <p:spPr bwMode="auto">
              <a:xfrm>
                <a:off x="939395" y="5468141"/>
                <a:ext cx="649923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de-DE" sz="1200" b="1" dirty="0">
                    <a:solidFill>
                      <a:schemeClr val="accent3"/>
                    </a:solidFill>
                  </a:rPr>
                  <a:t>Costa Rica</a:t>
                </a:r>
              </a:p>
            </p:txBody>
          </p:sp>
          <p:sp>
            <p:nvSpPr>
              <p:cNvPr id="538" name="Text Box 120" descr="© INSCALE GmbH, 05.05.2010&#10;http://www.presentationload.com/"/>
              <p:cNvSpPr txBox="1">
                <a:spLocks noChangeArrowheads="1"/>
              </p:cNvSpPr>
              <p:nvPr/>
            </p:nvSpPr>
            <p:spPr bwMode="auto">
              <a:xfrm>
                <a:off x="839704" y="4705981"/>
                <a:ext cx="636906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de-DE" sz="1200" b="1" dirty="0">
                    <a:solidFill>
                      <a:schemeClr val="accent3"/>
                    </a:solidFill>
                  </a:rPr>
                  <a:t>Nicaragua</a:t>
                </a:r>
              </a:p>
            </p:txBody>
          </p:sp>
          <p:sp>
            <p:nvSpPr>
              <p:cNvPr id="539" name="Text Box 120" descr="© INSCALE GmbH, 05.05.2010&#10;http://www.presentationload.com/"/>
              <p:cNvSpPr txBox="1">
                <a:spLocks noChangeArrowheads="1"/>
              </p:cNvSpPr>
              <p:nvPr/>
            </p:nvSpPr>
            <p:spPr bwMode="auto">
              <a:xfrm>
                <a:off x="413003" y="4099776"/>
                <a:ext cx="618567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de-DE" sz="1200" b="1" dirty="0">
                    <a:solidFill>
                      <a:schemeClr val="accent3"/>
                    </a:solidFill>
                  </a:rPr>
                  <a:t>Honduras</a:t>
                </a:r>
              </a:p>
            </p:txBody>
          </p:sp>
          <p:sp>
            <p:nvSpPr>
              <p:cNvPr id="540" name="Text Box 120" descr="© INSCALE GmbH, 05.05.2010&#10;http://www.presentationload.com/"/>
              <p:cNvSpPr txBox="1">
                <a:spLocks noChangeArrowheads="1"/>
              </p:cNvSpPr>
              <p:nvPr/>
            </p:nvSpPr>
            <p:spPr bwMode="auto">
              <a:xfrm>
                <a:off x="267751" y="3527976"/>
                <a:ext cx="375424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de-DE" sz="1200" b="1" dirty="0">
                    <a:solidFill>
                      <a:schemeClr val="accent3"/>
                    </a:solidFill>
                  </a:rPr>
                  <a:t>Belize</a:t>
                </a:r>
              </a:p>
            </p:txBody>
          </p:sp>
          <p:sp>
            <p:nvSpPr>
              <p:cNvPr id="541" name="Text Box 120" descr="© INSCALE GmbH, 05.05.2010&#10;http://www.presentationload.com/"/>
              <p:cNvSpPr txBox="1">
                <a:spLocks noChangeArrowheads="1"/>
              </p:cNvSpPr>
              <p:nvPr/>
            </p:nvSpPr>
            <p:spPr bwMode="auto">
              <a:xfrm>
                <a:off x="4828634" y="2651701"/>
                <a:ext cx="556242" cy="3077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de-DE" sz="1000" dirty="0">
                    <a:solidFill>
                      <a:prstClr val="black"/>
                    </a:solidFill>
                  </a:rPr>
                  <a:t>Dominican</a:t>
                </a:r>
                <a:br>
                  <a:rPr lang="de-DE" sz="1000" dirty="0">
                    <a:solidFill>
                      <a:prstClr val="black"/>
                    </a:solidFill>
                  </a:rPr>
                </a:br>
                <a:r>
                  <a:rPr lang="de-DE" sz="1000" dirty="0">
                    <a:solidFill>
                      <a:prstClr val="black"/>
                    </a:solidFill>
                  </a:rPr>
                  <a:t>Republic</a:t>
                </a:r>
              </a:p>
            </p:txBody>
          </p:sp>
          <p:sp>
            <p:nvSpPr>
              <p:cNvPr id="542" name="Text Box 120" descr="© INSCALE GmbH, 05.05.2010&#10;http://www.presentationload.com/"/>
              <p:cNvSpPr txBox="1">
                <a:spLocks noChangeArrowheads="1"/>
              </p:cNvSpPr>
              <p:nvPr/>
            </p:nvSpPr>
            <p:spPr bwMode="auto">
              <a:xfrm>
                <a:off x="2500282" y="2080126"/>
                <a:ext cx="264496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de-DE" sz="1000" dirty="0">
                    <a:solidFill>
                      <a:prstClr val="white"/>
                    </a:solidFill>
                  </a:rPr>
                  <a:t>Cuba</a:t>
                </a:r>
              </a:p>
            </p:txBody>
          </p:sp>
          <p:sp>
            <p:nvSpPr>
              <p:cNvPr id="543" name="Text Box 120" descr="© INSCALE GmbH, 05.05.2010&#10;http://www.presentationload.com/"/>
              <p:cNvSpPr txBox="1">
                <a:spLocks noChangeArrowheads="1"/>
              </p:cNvSpPr>
              <p:nvPr/>
            </p:nvSpPr>
            <p:spPr bwMode="auto">
              <a:xfrm>
                <a:off x="5378901" y="3049723"/>
                <a:ext cx="601127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de-DE" sz="1000" dirty="0">
                    <a:solidFill>
                      <a:prstClr val="black"/>
                    </a:solidFill>
                  </a:rPr>
                  <a:t>Puerto Rico</a:t>
                </a:r>
              </a:p>
            </p:txBody>
          </p:sp>
          <p:sp>
            <p:nvSpPr>
              <p:cNvPr id="544" name="Text Box 120" descr="© INSCALE GmbH, 05.05.2010&#10;http://www.presentationload.com/"/>
              <p:cNvSpPr txBox="1">
                <a:spLocks noChangeArrowheads="1"/>
              </p:cNvSpPr>
              <p:nvPr/>
            </p:nvSpPr>
            <p:spPr bwMode="auto">
              <a:xfrm>
                <a:off x="3802269" y="2961201"/>
                <a:ext cx="242054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de-DE" sz="1000" dirty="0">
                    <a:solidFill>
                      <a:prstClr val="black"/>
                    </a:solidFill>
                  </a:rPr>
                  <a:t>Haiti</a:t>
                </a:r>
              </a:p>
            </p:txBody>
          </p:sp>
          <p:sp>
            <p:nvSpPr>
              <p:cNvPr id="545" name="Text Box 120" descr="© INSCALE GmbH, 05.05.2010&#10;http://www.presentationload.com/"/>
              <p:cNvSpPr txBox="1">
                <a:spLocks noChangeArrowheads="1"/>
              </p:cNvSpPr>
              <p:nvPr/>
            </p:nvSpPr>
            <p:spPr bwMode="auto">
              <a:xfrm>
                <a:off x="2885251" y="3052739"/>
                <a:ext cx="410369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de-DE" sz="1000" dirty="0">
                    <a:solidFill>
                      <a:prstClr val="black"/>
                    </a:solidFill>
                  </a:rPr>
                  <a:t>Jamaica</a:t>
                </a:r>
              </a:p>
            </p:txBody>
          </p:sp>
          <p:sp>
            <p:nvSpPr>
              <p:cNvPr id="546" name="Text Box 120" descr="© INSCALE GmbH, 05.05.2010&#10;http://www.presentationload.com/"/>
              <p:cNvSpPr txBox="1">
                <a:spLocks noChangeArrowheads="1"/>
              </p:cNvSpPr>
              <p:nvPr/>
            </p:nvSpPr>
            <p:spPr bwMode="auto">
              <a:xfrm>
                <a:off x="2195066" y="1118600"/>
                <a:ext cx="472886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de-DE" sz="1000" dirty="0">
                    <a:solidFill>
                      <a:prstClr val="black"/>
                    </a:solidFill>
                  </a:rPr>
                  <a:t>Bahamas</a:t>
                </a:r>
              </a:p>
            </p:txBody>
          </p:sp>
          <p:sp>
            <p:nvSpPr>
              <p:cNvPr id="547" name="Text Box 120" descr="© INSCALE GmbH, 05.05.2010&#10;http://www.presentationload.com/"/>
              <p:cNvSpPr txBox="1">
                <a:spLocks noChangeArrowheads="1"/>
              </p:cNvSpPr>
              <p:nvPr/>
            </p:nvSpPr>
            <p:spPr bwMode="auto">
              <a:xfrm>
                <a:off x="7348983" y="4812300"/>
                <a:ext cx="488916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de-DE" sz="1000" dirty="0">
                    <a:solidFill>
                      <a:prstClr val="black"/>
                    </a:solidFill>
                  </a:rPr>
                  <a:t>Barbados</a:t>
                </a:r>
              </a:p>
            </p:txBody>
          </p:sp>
          <p:cxnSp>
            <p:nvCxnSpPr>
              <p:cNvPr id="7" name="Gerade Verbindung 6"/>
              <p:cNvCxnSpPr/>
              <p:nvPr/>
            </p:nvCxnSpPr>
            <p:spPr>
              <a:xfrm>
                <a:off x="6765578" y="3529578"/>
                <a:ext cx="229509" cy="34477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9" name="Gerade Verbindung 548"/>
              <p:cNvCxnSpPr/>
              <p:nvPr/>
            </p:nvCxnSpPr>
            <p:spPr>
              <a:xfrm flipV="1">
                <a:off x="6765578" y="3582740"/>
                <a:ext cx="229509" cy="53404"/>
              </a:xfrm>
              <a:prstGeom prst="line">
                <a:avLst/>
              </a:prstGeom>
              <a:ln w="31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0" name="Text Box 120" descr="© INSCALE GmbH, 05.05.2010&#10;http://www.presentationload.com/"/>
              <p:cNvSpPr txBox="1">
                <a:spLocks noChangeArrowheads="1"/>
              </p:cNvSpPr>
              <p:nvPr/>
            </p:nvSpPr>
            <p:spPr bwMode="auto">
              <a:xfrm>
                <a:off x="6923464" y="4106112"/>
                <a:ext cx="488916" cy="153888"/>
              </a:xfrm>
              <a:prstGeom prst="rect">
                <a:avLst/>
              </a:prstGeom>
              <a:solidFill>
                <a:srgbClr val="0070C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de-DE" sz="1000" dirty="0">
                    <a:solidFill>
                      <a:prstClr val="white"/>
                    </a:solidFill>
                  </a:rPr>
                  <a:t>Dominica</a:t>
                </a:r>
              </a:p>
            </p:txBody>
          </p:sp>
          <p:sp>
            <p:nvSpPr>
              <p:cNvPr id="552" name="Text Box 120" descr="© INSCALE GmbH, 05.05.2010&#10;http://www.presentationload.com/"/>
              <p:cNvSpPr txBox="1">
                <a:spLocks noChangeArrowheads="1"/>
              </p:cNvSpPr>
              <p:nvPr/>
            </p:nvSpPr>
            <p:spPr bwMode="auto">
              <a:xfrm>
                <a:off x="5623800" y="3598532"/>
                <a:ext cx="825547" cy="153888"/>
              </a:xfrm>
              <a:prstGeom prst="rect">
                <a:avLst/>
              </a:prstGeom>
              <a:solidFill>
                <a:srgbClr val="66006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de-DE" sz="1000" dirty="0">
                    <a:solidFill>
                      <a:schemeClr val="bg1"/>
                    </a:solidFill>
                  </a:rPr>
                  <a:t>St. Kitts &amp; Nevis</a:t>
                </a:r>
              </a:p>
            </p:txBody>
          </p:sp>
          <p:sp>
            <p:nvSpPr>
              <p:cNvPr id="553" name="Text Box 120" descr="© INSCALE GmbH, 05.05.2010&#10;http://www.presentationload.com/"/>
              <p:cNvSpPr txBox="1">
                <a:spLocks noChangeArrowheads="1"/>
              </p:cNvSpPr>
              <p:nvPr/>
            </p:nvSpPr>
            <p:spPr bwMode="auto">
              <a:xfrm>
                <a:off x="7026592" y="4586244"/>
                <a:ext cx="429605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de-DE" sz="1000" dirty="0">
                    <a:solidFill>
                      <a:prstClr val="black"/>
                    </a:solidFill>
                  </a:rPr>
                  <a:t>St. Lucia</a:t>
                </a:r>
              </a:p>
            </p:txBody>
          </p:sp>
          <p:sp>
            <p:nvSpPr>
              <p:cNvPr id="554" name="Text Box 120" descr="© INSCALE GmbH, 05.05.2010&#10;http://www.presentationload.com/"/>
              <p:cNvSpPr txBox="1">
                <a:spLocks noChangeArrowheads="1"/>
              </p:cNvSpPr>
              <p:nvPr/>
            </p:nvSpPr>
            <p:spPr bwMode="auto">
              <a:xfrm>
                <a:off x="7029764" y="4341563"/>
                <a:ext cx="581891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de-DE" sz="1000" dirty="0">
                    <a:solidFill>
                      <a:schemeClr val="accent3"/>
                    </a:solidFill>
                  </a:rPr>
                  <a:t>Martinique</a:t>
                </a:r>
              </a:p>
            </p:txBody>
          </p:sp>
          <p:sp>
            <p:nvSpPr>
              <p:cNvPr id="555" name="Text Box 120" descr="© INSCALE GmbH, 05.05.2010&#10;http://www.presentationload.com/"/>
              <p:cNvSpPr txBox="1">
                <a:spLocks noChangeArrowheads="1"/>
              </p:cNvSpPr>
              <p:nvPr/>
            </p:nvSpPr>
            <p:spPr bwMode="auto">
              <a:xfrm>
                <a:off x="1854444" y="2985702"/>
                <a:ext cx="447237" cy="3077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de-DE" sz="1000" dirty="0" smtClean="0">
                    <a:solidFill>
                      <a:schemeClr val="accent3"/>
                    </a:solidFill>
                  </a:rPr>
                  <a:t>Cayman </a:t>
                </a:r>
                <a:r>
                  <a:rPr lang="de-DE" sz="1000" dirty="0">
                    <a:solidFill>
                      <a:schemeClr val="accent3"/>
                    </a:solidFill>
                  </a:rPr>
                  <a:t/>
                </a:r>
                <a:br>
                  <a:rPr lang="de-DE" sz="1000" dirty="0">
                    <a:solidFill>
                      <a:schemeClr val="accent3"/>
                    </a:solidFill>
                  </a:rPr>
                </a:br>
                <a:r>
                  <a:rPr lang="de-DE" sz="1000" dirty="0" smtClean="0">
                    <a:solidFill>
                      <a:schemeClr val="accent3"/>
                    </a:solidFill>
                  </a:rPr>
                  <a:t>Islands</a:t>
                </a:r>
                <a:endParaRPr lang="de-DE" sz="1000" dirty="0">
                  <a:solidFill>
                    <a:schemeClr val="accent3"/>
                  </a:solidFill>
                </a:endParaRPr>
              </a:p>
            </p:txBody>
          </p:sp>
          <p:sp>
            <p:nvSpPr>
              <p:cNvPr id="556" name="Text Box 120" descr="© INSCALE GmbH, 05.05.2010&#10;http://www.presentationload.com/"/>
              <p:cNvSpPr txBox="1">
                <a:spLocks noChangeArrowheads="1"/>
              </p:cNvSpPr>
              <p:nvPr/>
            </p:nvSpPr>
            <p:spPr bwMode="auto">
              <a:xfrm>
                <a:off x="6995188" y="5525818"/>
                <a:ext cx="573875" cy="3077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de-DE" sz="1000" dirty="0">
                    <a:solidFill>
                      <a:prstClr val="black"/>
                    </a:solidFill>
                  </a:rPr>
                  <a:t>Trinidad &amp; </a:t>
                </a:r>
                <a:br>
                  <a:rPr lang="de-DE" sz="1000" dirty="0">
                    <a:solidFill>
                      <a:prstClr val="black"/>
                    </a:solidFill>
                  </a:rPr>
                </a:br>
                <a:r>
                  <a:rPr lang="de-DE" sz="1000" dirty="0">
                    <a:solidFill>
                      <a:prstClr val="black"/>
                    </a:solidFill>
                  </a:rPr>
                  <a:t>Tobago</a:t>
                </a:r>
              </a:p>
            </p:txBody>
          </p:sp>
          <p:sp>
            <p:nvSpPr>
              <p:cNvPr id="557" name="Text Box 120" descr="© INSCALE GmbH, 05.05.2010&#10;http://www.presentationload.com/"/>
              <p:cNvSpPr txBox="1">
                <a:spLocks noChangeArrowheads="1"/>
              </p:cNvSpPr>
              <p:nvPr/>
            </p:nvSpPr>
            <p:spPr bwMode="auto">
              <a:xfrm>
                <a:off x="3131257" y="5812914"/>
                <a:ext cx="609141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de-DE" sz="1200" b="1" dirty="0">
                    <a:solidFill>
                      <a:schemeClr val="accent3"/>
                    </a:solidFill>
                  </a:rPr>
                  <a:t>Colombia</a:t>
                </a:r>
              </a:p>
            </p:txBody>
          </p:sp>
          <p:sp>
            <p:nvSpPr>
              <p:cNvPr id="558" name="Text Box 120" descr="© INSCALE GmbH, 05.05.2010&#10;http://www.presentationload.com/"/>
              <p:cNvSpPr txBox="1">
                <a:spLocks noChangeArrowheads="1"/>
              </p:cNvSpPr>
              <p:nvPr/>
            </p:nvSpPr>
            <p:spPr bwMode="auto">
              <a:xfrm>
                <a:off x="3182084" y="4347326"/>
                <a:ext cx="891271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de-DE" sz="1200" i="1" dirty="0">
                    <a:solidFill>
                      <a:srgbClr val="2A79FF">
                        <a:lumMod val="75000"/>
                      </a:srgbClr>
                    </a:solidFill>
                  </a:rPr>
                  <a:t>Caribbean Sea</a:t>
                </a:r>
              </a:p>
            </p:txBody>
          </p:sp>
          <p:sp>
            <p:nvSpPr>
              <p:cNvPr id="560" name="Text Box 120" descr="© INSCALE GmbH, 05.05.2010&#10;http://www.presentationload.com/"/>
              <p:cNvSpPr txBox="1">
                <a:spLocks noChangeArrowheads="1"/>
              </p:cNvSpPr>
              <p:nvPr/>
            </p:nvSpPr>
            <p:spPr bwMode="auto">
              <a:xfrm>
                <a:off x="6907433" y="3862390"/>
                <a:ext cx="649217" cy="1538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de-DE" sz="1000" dirty="0">
                    <a:solidFill>
                      <a:schemeClr val="accent3"/>
                    </a:solidFill>
                  </a:rPr>
                  <a:t>Guadeloupe</a:t>
                </a:r>
              </a:p>
            </p:txBody>
          </p:sp>
        </p:grpSp>
        <p:sp>
          <p:nvSpPr>
            <p:cNvPr id="210" name="Text Box 475" descr="© INSCALE GmbH, 05.05.2010&#10;http://www.presentationload.com/"/>
            <p:cNvSpPr txBox="1">
              <a:spLocks noChangeArrowheads="1"/>
            </p:cNvSpPr>
            <p:nvPr/>
          </p:nvSpPr>
          <p:spPr bwMode="auto">
            <a:xfrm>
              <a:off x="6075364" y="2071689"/>
              <a:ext cx="708025" cy="27622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ctr">
                <a:spcBef>
                  <a:spcPct val="0"/>
                </a:spcBef>
              </a:pPr>
              <a:r>
                <a:rPr lang="en-GB" sz="900" noProof="1">
                  <a:solidFill>
                    <a:schemeClr val="accent3"/>
                  </a:solidFill>
                </a:rPr>
                <a:t>Turks &amp; Cai</a:t>
              </a:r>
              <a:r>
                <a:rPr lang="de-DE" sz="900" dirty="0">
                  <a:solidFill>
                    <a:schemeClr val="accent3"/>
                  </a:solidFill>
                </a:rPr>
                <a:t>c</a:t>
              </a:r>
              <a:r>
                <a:rPr lang="de-DE" sz="900" noProof="1">
                  <a:solidFill>
                    <a:schemeClr val="accent3"/>
                  </a:solidFill>
                </a:rPr>
                <a:t>os </a:t>
              </a:r>
            </a:p>
            <a:p>
              <a:pPr algn="ctr">
                <a:spcBef>
                  <a:spcPct val="0"/>
                </a:spcBef>
              </a:pPr>
              <a:r>
                <a:rPr lang="de-DE" sz="900" noProof="1" smtClean="0">
                  <a:solidFill>
                    <a:schemeClr val="accent3"/>
                  </a:solidFill>
                </a:rPr>
                <a:t>Islands</a:t>
              </a:r>
              <a:endParaRPr lang="de-DE" sz="900" noProof="1">
                <a:solidFill>
                  <a:schemeClr val="accent3"/>
                </a:solidFill>
              </a:endParaRPr>
            </a:p>
          </p:txBody>
        </p:sp>
        <p:grpSp>
          <p:nvGrpSpPr>
            <p:cNvPr id="211" name="Group 210"/>
            <p:cNvGrpSpPr/>
            <p:nvPr/>
          </p:nvGrpSpPr>
          <p:grpSpPr>
            <a:xfrm>
              <a:off x="8939751" y="1013564"/>
              <a:ext cx="1086566" cy="1115456"/>
              <a:chOff x="5290297" y="2422991"/>
              <a:chExt cx="1086566" cy="1115456"/>
            </a:xfrm>
          </p:grpSpPr>
          <p:grpSp>
            <p:nvGrpSpPr>
              <p:cNvPr id="212" name="Gruppieren 387"/>
              <p:cNvGrpSpPr/>
              <p:nvPr/>
            </p:nvGrpSpPr>
            <p:grpSpPr bwMode="gray">
              <a:xfrm>
                <a:off x="5290297" y="2730966"/>
                <a:ext cx="1086566" cy="195263"/>
                <a:chOff x="7359650" y="5349876"/>
                <a:chExt cx="562226" cy="195263"/>
              </a:xfrm>
            </p:grpSpPr>
            <p:sp>
              <p:nvSpPr>
                <p:cNvPr id="222" name="Rectangle 182" descr="© INSCALE GmbH, 05.05.2010&#10;http://www.presentationload.com/"/>
                <p:cNvSpPr>
                  <a:spLocks noChangeArrowheads="1"/>
                </p:cNvSpPr>
                <p:nvPr>
                  <p:custDataLst>
                    <p:tags r:id="rId7"/>
                  </p:custDataLst>
                </p:nvPr>
              </p:nvSpPr>
              <p:spPr bwMode="gray">
                <a:xfrm>
                  <a:off x="7359650" y="5349876"/>
                  <a:ext cx="193675" cy="195263"/>
                </a:xfrm>
                <a:prstGeom prst="roundRect">
                  <a:avLst/>
                </a:prstGeom>
                <a:solidFill>
                  <a:srgbClr val="0070C0"/>
                </a:solidFill>
                <a:ln w="12700" algn="ctr">
                  <a:noFill/>
                  <a:miter lim="800000"/>
                  <a:headEnd/>
                  <a:tailEnd/>
                </a:ln>
                <a:effectLst>
                  <a:outerShdw blurRad="381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none" anchor="ctr"/>
                <a:lstStyle/>
                <a:p>
                  <a:endParaRPr lang="de-DE" sz="1200" dirty="0">
                    <a:solidFill>
                      <a:prstClr val="black"/>
                    </a:solidFill>
                    <a:cs typeface="Calibri" pitchFamily="34" charset="0"/>
                  </a:endParaRPr>
                </a:p>
              </p:txBody>
            </p:sp>
            <p:sp>
              <p:nvSpPr>
                <p:cNvPr id="223" name="Text Box 183" descr="© INSCALE GmbH, 05.05.2010&#10;http://www.presentationload.com/"/>
                <p:cNvSpPr txBox="1">
                  <a:spLocks noChangeArrowheads="1"/>
                </p:cNvSpPr>
                <p:nvPr>
                  <p:custDataLst>
                    <p:tags r:id="rId8"/>
                  </p:custDataLst>
                </p:nvPr>
              </p:nvSpPr>
              <p:spPr bwMode="gray">
                <a:xfrm>
                  <a:off x="7602538" y="5357813"/>
                  <a:ext cx="319338" cy="184666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spcBef>
                      <a:spcPct val="40000"/>
                    </a:spcBef>
                  </a:pPr>
                  <a:r>
                    <a:rPr lang="de-DE" sz="1200" dirty="0" smtClean="0">
                      <a:solidFill>
                        <a:srgbClr val="000000"/>
                      </a:solidFill>
                      <a:cs typeface="Calibri" pitchFamily="34" charset="0"/>
                    </a:rPr>
                    <a:t>0.5 – 0.75</a:t>
                  </a:r>
                  <a:endParaRPr lang="de-DE" sz="1200" dirty="0">
                    <a:solidFill>
                      <a:srgbClr val="000000"/>
                    </a:solidFill>
                    <a:cs typeface="Calibri" pitchFamily="34" charset="0"/>
                  </a:endParaRPr>
                </a:p>
              </p:txBody>
            </p:sp>
          </p:grpSp>
          <p:grpSp>
            <p:nvGrpSpPr>
              <p:cNvPr id="213" name="Gruppieren 386"/>
              <p:cNvGrpSpPr/>
              <p:nvPr/>
            </p:nvGrpSpPr>
            <p:grpSpPr bwMode="gray">
              <a:xfrm>
                <a:off x="5290306" y="2422991"/>
                <a:ext cx="777186" cy="195263"/>
                <a:chOff x="7359650" y="5041901"/>
                <a:chExt cx="402142" cy="195263"/>
              </a:xfrm>
            </p:grpSpPr>
            <p:sp>
              <p:nvSpPr>
                <p:cNvPr id="220" name="Rectangle 184" descr="© INSCALE GmbH, 05.05.2010&#10;http://www.presentationload.com/"/>
                <p:cNvSpPr>
                  <a:spLocks noChangeArrowheads="1"/>
                </p:cNvSpPr>
                <p:nvPr>
                  <p:custDataLst>
                    <p:tags r:id="rId5"/>
                  </p:custDataLst>
                </p:nvPr>
              </p:nvSpPr>
              <p:spPr bwMode="gray">
                <a:xfrm>
                  <a:off x="7359650" y="5041901"/>
                  <a:ext cx="193675" cy="195263"/>
                </a:xfrm>
                <a:prstGeom prst="roundRect">
                  <a:avLst/>
                </a:prstGeom>
                <a:solidFill>
                  <a:srgbClr val="FFC000"/>
                </a:solidFill>
                <a:ln w="12700" algn="ctr">
                  <a:noFill/>
                  <a:miter lim="800000"/>
                  <a:headEnd/>
                  <a:tailEnd/>
                </a:ln>
                <a:effectLst>
                  <a:outerShdw blurRad="381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none" anchor="ctr"/>
                <a:lstStyle/>
                <a:p>
                  <a:endParaRPr lang="de-DE" sz="1200" dirty="0">
                    <a:solidFill>
                      <a:prstClr val="black"/>
                    </a:solidFill>
                    <a:cs typeface="Calibri" pitchFamily="34" charset="0"/>
                  </a:endParaRPr>
                </a:p>
              </p:txBody>
            </p:sp>
            <p:sp>
              <p:nvSpPr>
                <p:cNvPr id="221" name="Text Box 185" descr="© INSCALE GmbH, 05.05.2010&#10;http://www.presentationload.com/"/>
                <p:cNvSpPr txBox="1">
                  <a:spLocks noChangeArrowheads="1"/>
                </p:cNvSpPr>
                <p:nvPr>
                  <p:custDataLst>
                    <p:tags r:id="rId6"/>
                  </p:custDataLst>
                </p:nvPr>
              </p:nvSpPr>
              <p:spPr bwMode="gray">
                <a:xfrm>
                  <a:off x="7602538" y="5049838"/>
                  <a:ext cx="159254" cy="184666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spcBef>
                      <a:spcPct val="40000"/>
                    </a:spcBef>
                  </a:pPr>
                  <a:r>
                    <a:rPr lang="de-DE" sz="1200" dirty="0" smtClean="0">
                      <a:solidFill>
                        <a:srgbClr val="000000"/>
                      </a:solidFill>
                      <a:cs typeface="Calibri" pitchFamily="34" charset="0"/>
                    </a:rPr>
                    <a:t>&lt; 0.5</a:t>
                  </a:r>
                  <a:endParaRPr lang="de-DE" sz="1200" dirty="0">
                    <a:solidFill>
                      <a:srgbClr val="000000"/>
                    </a:solidFill>
                    <a:cs typeface="Calibri" pitchFamily="34" charset="0"/>
                  </a:endParaRPr>
                </a:p>
              </p:txBody>
            </p:sp>
          </p:grpSp>
          <p:grpSp>
            <p:nvGrpSpPr>
              <p:cNvPr id="214" name="Gruppieren 388"/>
              <p:cNvGrpSpPr/>
              <p:nvPr/>
            </p:nvGrpSpPr>
            <p:grpSpPr bwMode="gray">
              <a:xfrm>
                <a:off x="5297274" y="3038941"/>
                <a:ext cx="969539" cy="194191"/>
                <a:chOff x="8278813" y="5046663"/>
                <a:chExt cx="501673" cy="194191"/>
              </a:xfrm>
            </p:grpSpPr>
            <p:sp>
              <p:nvSpPr>
                <p:cNvPr id="218" name="Rectangle 187" descr="© INSCALE GmbH, 05.05.2010&#10;http://www.presentationload.com/"/>
                <p:cNvSpPr>
                  <a:spLocks noChangeArrowheads="1"/>
                </p:cNvSpPr>
                <p:nvPr>
                  <p:custDataLst>
                    <p:tags r:id="rId3"/>
                  </p:custDataLst>
                </p:nvPr>
              </p:nvSpPr>
              <p:spPr bwMode="gray">
                <a:xfrm>
                  <a:off x="8278813" y="5046663"/>
                  <a:ext cx="193675" cy="193675"/>
                </a:xfrm>
                <a:prstGeom prst="roundRect">
                  <a:avLst/>
                </a:prstGeom>
                <a:solidFill>
                  <a:srgbClr val="92D050"/>
                </a:solidFill>
                <a:ln w="12700">
                  <a:noFill/>
                  <a:miter lim="800000"/>
                  <a:headEnd/>
                  <a:tailEnd/>
                </a:ln>
                <a:effectLst>
                  <a:outerShdw blurRad="381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none" anchor="ctr"/>
                <a:lstStyle/>
                <a:p>
                  <a:endParaRPr lang="de-DE" sz="1200" dirty="0">
                    <a:solidFill>
                      <a:prstClr val="black"/>
                    </a:solidFill>
                    <a:cs typeface="Calibri" pitchFamily="34" charset="0"/>
                  </a:endParaRPr>
                </a:p>
              </p:txBody>
            </p:sp>
            <p:sp>
              <p:nvSpPr>
                <p:cNvPr id="219" name="Text Box 188" descr="© INSCALE GmbH, 05.05.2010&#10;http://www.presentationload.com/"/>
                <p:cNvSpPr txBox="1">
                  <a:spLocks noChangeArrowheads="1"/>
                </p:cNvSpPr>
                <p:nvPr>
                  <p:custDataLst>
                    <p:tags r:id="rId4"/>
                  </p:custDataLst>
                </p:nvPr>
              </p:nvSpPr>
              <p:spPr bwMode="gray">
                <a:xfrm>
                  <a:off x="8521698" y="5056188"/>
                  <a:ext cx="258788" cy="184666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spcBef>
                      <a:spcPct val="40000"/>
                    </a:spcBef>
                  </a:pPr>
                  <a:r>
                    <a:rPr lang="de-DE" sz="1200" dirty="0" smtClean="0">
                      <a:solidFill>
                        <a:srgbClr val="000000"/>
                      </a:solidFill>
                      <a:cs typeface="Calibri" pitchFamily="34" charset="0"/>
                    </a:rPr>
                    <a:t>0.75 </a:t>
                  </a:r>
                  <a:r>
                    <a:rPr lang="de-DE" sz="1200" dirty="0">
                      <a:solidFill>
                        <a:srgbClr val="000000"/>
                      </a:solidFill>
                      <a:cs typeface="Calibri" pitchFamily="34" charset="0"/>
                    </a:rPr>
                    <a:t>– </a:t>
                  </a:r>
                  <a:r>
                    <a:rPr lang="de-DE" sz="1200" dirty="0" smtClean="0">
                      <a:solidFill>
                        <a:srgbClr val="000000"/>
                      </a:solidFill>
                      <a:cs typeface="Calibri" pitchFamily="34" charset="0"/>
                    </a:rPr>
                    <a:t>1</a:t>
                  </a:r>
                  <a:endParaRPr lang="de-DE" sz="1200" dirty="0">
                    <a:solidFill>
                      <a:srgbClr val="000000"/>
                    </a:solidFill>
                    <a:cs typeface="Calibri" pitchFamily="34" charset="0"/>
                  </a:endParaRPr>
                </a:p>
              </p:txBody>
            </p:sp>
          </p:grpSp>
          <p:grpSp>
            <p:nvGrpSpPr>
              <p:cNvPr id="215" name="Gruppieren 389"/>
              <p:cNvGrpSpPr/>
              <p:nvPr/>
            </p:nvGrpSpPr>
            <p:grpSpPr bwMode="gray">
              <a:xfrm>
                <a:off x="5297284" y="3344256"/>
                <a:ext cx="660165" cy="194191"/>
                <a:chOff x="8278813" y="5348288"/>
                <a:chExt cx="341592" cy="194191"/>
              </a:xfrm>
            </p:grpSpPr>
            <p:sp>
              <p:nvSpPr>
                <p:cNvPr id="216" name="Rectangle 189" descr="© INSCALE GmbH, 05.05.2010&#10;http://www.presentationload.com/"/>
                <p:cNvSpPr>
                  <a:spLocks noChangeArrowheads="1"/>
                </p:cNvSpPr>
                <p:nvPr>
                  <p:custDataLst>
                    <p:tags r:id="rId1"/>
                  </p:custDataLst>
                </p:nvPr>
              </p:nvSpPr>
              <p:spPr bwMode="gray">
                <a:xfrm>
                  <a:off x="8278813" y="5348288"/>
                  <a:ext cx="193675" cy="193675"/>
                </a:xfrm>
                <a:prstGeom prst="roundRect">
                  <a:avLst/>
                </a:prstGeom>
                <a:solidFill>
                  <a:srgbClr val="660066"/>
                </a:solidFill>
                <a:ln w="12700">
                  <a:noFill/>
                  <a:miter lim="800000"/>
                  <a:headEnd/>
                  <a:tailEnd/>
                </a:ln>
                <a:effectLst>
                  <a:outerShdw blurRad="38100" dist="254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none" anchor="ctr"/>
                <a:lstStyle/>
                <a:p>
                  <a:endParaRPr lang="de-DE" sz="1200" dirty="0">
                    <a:solidFill>
                      <a:prstClr val="black"/>
                    </a:solidFill>
                    <a:cs typeface="Calibri" pitchFamily="34" charset="0"/>
                  </a:endParaRPr>
                </a:p>
              </p:txBody>
            </p:sp>
            <p:sp>
              <p:nvSpPr>
                <p:cNvPr id="217" name="Text Box 190" descr="© INSCALE GmbH, 05.05.2010&#10;http://www.presentationload.com/"/>
                <p:cNvSpPr txBox="1">
                  <a:spLocks noChangeArrowheads="1"/>
                </p:cNvSpPr>
                <p:nvPr>
                  <p:custDataLst>
                    <p:tags r:id="rId2"/>
                  </p:custDataLst>
                </p:nvPr>
              </p:nvSpPr>
              <p:spPr bwMode="gray">
                <a:xfrm>
                  <a:off x="8521700" y="5357813"/>
                  <a:ext cx="98705" cy="184666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  <a:effectLst/>
              </p:spPr>
              <p:txBody>
                <a:bodyPr wrap="none" lIns="0" tIns="0" rIns="0" bIns="0">
                  <a:spAutoFit/>
                </a:bodyPr>
                <a:lstStyle/>
                <a:p>
                  <a:pPr>
                    <a:spcBef>
                      <a:spcPct val="40000"/>
                    </a:spcBef>
                  </a:pPr>
                  <a:r>
                    <a:rPr lang="de-DE" sz="1200" dirty="0" smtClean="0">
                      <a:solidFill>
                        <a:srgbClr val="000000"/>
                      </a:solidFill>
                      <a:cs typeface="Calibri" pitchFamily="34" charset="0"/>
                    </a:rPr>
                    <a:t>&gt; 1</a:t>
                  </a:r>
                  <a:endParaRPr lang="de-DE" sz="1200" dirty="0">
                    <a:solidFill>
                      <a:srgbClr val="000000"/>
                    </a:solidFill>
                    <a:cs typeface="Calibri" pitchFamily="34" charset="0"/>
                  </a:endParaRPr>
                </a:p>
              </p:txBody>
            </p:sp>
          </p:grpSp>
        </p:grpSp>
        <p:sp>
          <p:nvSpPr>
            <p:cNvPr id="224" name="Text Box 120" descr="© INSCALE GmbH, 05.05.2010&#10;http://www.presentationload.com/"/>
            <p:cNvSpPr txBox="1">
              <a:spLocks noChangeArrowheads="1"/>
            </p:cNvSpPr>
            <p:nvPr/>
          </p:nvSpPr>
          <p:spPr bwMode="auto">
            <a:xfrm>
              <a:off x="9542700" y="2774812"/>
              <a:ext cx="911596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ctr">
                <a:spcBef>
                  <a:spcPct val="0"/>
                </a:spcBef>
              </a:pPr>
              <a:r>
                <a:rPr lang="de-DE" sz="1200" i="1" dirty="0">
                  <a:solidFill>
                    <a:srgbClr val="2A79FF">
                      <a:lumMod val="75000"/>
                    </a:srgbClr>
                  </a:solidFill>
                </a:rPr>
                <a:t>Atlantic Ocean</a:t>
              </a:r>
            </a:p>
          </p:txBody>
        </p:sp>
        <p:sp>
          <p:nvSpPr>
            <p:cNvPr id="225" name="Text Box 120" descr="© INSCALE GmbH, 05.05.2010&#10;http://www.presentationload.com/"/>
            <p:cNvSpPr txBox="1">
              <a:spLocks noChangeArrowheads="1"/>
            </p:cNvSpPr>
            <p:nvPr/>
          </p:nvSpPr>
          <p:spPr bwMode="auto">
            <a:xfrm>
              <a:off x="8588826" y="3428853"/>
              <a:ext cx="725226" cy="307777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>
                <a:spcBef>
                  <a:spcPct val="0"/>
                </a:spcBef>
              </a:pPr>
              <a:r>
                <a:rPr lang="de-DE" sz="1000" dirty="0" smtClean="0">
                  <a:solidFill>
                    <a:prstClr val="white"/>
                  </a:solidFill>
                </a:rPr>
                <a:t>Antigua &amp; Barbuda</a:t>
              </a:r>
              <a:endParaRPr lang="de-DE" sz="1000" dirty="0">
                <a:solidFill>
                  <a:prstClr val="white"/>
                </a:solidFill>
              </a:endParaRPr>
            </a:p>
          </p:txBody>
        </p:sp>
        <p:sp>
          <p:nvSpPr>
            <p:cNvPr id="226" name="Text Box 120" descr="© INSCALE GmbH, 05.05.2010&#10;http://www.presentationload.com/"/>
            <p:cNvSpPr txBox="1">
              <a:spLocks noChangeArrowheads="1"/>
            </p:cNvSpPr>
            <p:nvPr/>
          </p:nvSpPr>
          <p:spPr bwMode="auto">
            <a:xfrm>
              <a:off x="7637236" y="4686956"/>
              <a:ext cx="706925" cy="307777"/>
            </a:xfrm>
            <a:prstGeom prst="rect">
              <a:avLst/>
            </a:prstGeom>
            <a:solidFill>
              <a:srgbClr val="0070C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ctr">
                <a:spcBef>
                  <a:spcPct val="0"/>
                </a:spcBef>
              </a:pPr>
              <a:r>
                <a:rPr lang="de-DE" sz="1000" dirty="0">
                  <a:solidFill>
                    <a:prstClr val="white"/>
                  </a:solidFill>
                </a:rPr>
                <a:t>St. Vincent &amp; </a:t>
              </a:r>
              <a:br>
                <a:rPr lang="de-DE" sz="1000" dirty="0">
                  <a:solidFill>
                    <a:prstClr val="white"/>
                  </a:solidFill>
                </a:rPr>
              </a:br>
              <a:r>
                <a:rPr lang="de-DE" sz="1000" dirty="0">
                  <a:solidFill>
                    <a:prstClr val="white"/>
                  </a:solidFill>
                </a:rPr>
                <a:t>Grenadines</a:t>
              </a:r>
            </a:p>
          </p:txBody>
        </p:sp>
        <p:sp>
          <p:nvSpPr>
            <p:cNvPr id="227" name="Text Box 120" descr="© INSCALE GmbH, 05.05.2010&#10;http://www.presentationload.com/"/>
            <p:cNvSpPr txBox="1">
              <a:spLocks noChangeArrowheads="1"/>
            </p:cNvSpPr>
            <p:nvPr/>
          </p:nvSpPr>
          <p:spPr bwMode="auto">
            <a:xfrm>
              <a:off x="8368426" y="5132199"/>
              <a:ext cx="445635" cy="153888"/>
            </a:xfrm>
            <a:prstGeom prst="rect">
              <a:avLst/>
            </a:prstGeom>
            <a:solidFill>
              <a:srgbClr val="FFC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r">
                <a:spcBef>
                  <a:spcPct val="0"/>
                </a:spcBef>
              </a:pPr>
              <a:r>
                <a:rPr lang="de-DE" sz="1000" dirty="0">
                  <a:solidFill>
                    <a:prstClr val="white"/>
                  </a:solidFill>
                </a:rPr>
                <a:t>Grenada</a:t>
              </a:r>
            </a:p>
          </p:txBody>
        </p:sp>
      </p:grpSp>
      <p:sp>
        <p:nvSpPr>
          <p:cNvPr id="229" name="Content Placeholder 2"/>
          <p:cNvSpPr txBox="1">
            <a:spLocks/>
          </p:cNvSpPr>
          <p:nvPr/>
        </p:nvSpPr>
        <p:spPr>
          <a:xfrm>
            <a:off x="9488704" y="728663"/>
            <a:ext cx="2398496" cy="59276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spcBef>
                <a:spcPts val="600"/>
              </a:spcBef>
              <a:spcAft>
                <a:spcPts val="6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b="0" dirty="0" smtClean="0"/>
              <a:t>Map based on weighting country-level storm </a:t>
            </a:r>
            <a:r>
              <a:rPr lang="en-US" b="0" dirty="0"/>
              <a:t>l</a:t>
            </a:r>
            <a:r>
              <a:rPr lang="en-US" b="0" dirty="0" smtClean="0"/>
              <a:t>ead </a:t>
            </a:r>
            <a:r>
              <a:rPr lang="en-US" b="0" dirty="0"/>
              <a:t>t</a:t>
            </a:r>
            <a:r>
              <a:rPr lang="en-US" b="0" dirty="0" smtClean="0"/>
              <a:t>imes (in hours) by number of storms per island, in period 1995-2015</a:t>
            </a:r>
          </a:p>
          <a:p>
            <a:pPr marL="228600" indent="-228600">
              <a:spcBef>
                <a:spcPts val="600"/>
              </a:spcBef>
              <a:spcAft>
                <a:spcPts val="6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dirty="0" smtClean="0"/>
              <a:t>Dominican </a:t>
            </a:r>
            <a:r>
              <a:rPr lang="en-US" dirty="0"/>
              <a:t>Republic Haiti</a:t>
            </a:r>
            <a:r>
              <a:rPr lang="en-US" b="0" dirty="0" smtClean="0"/>
              <a:t>, and </a:t>
            </a:r>
            <a:r>
              <a:rPr lang="en-US" dirty="0" smtClean="0"/>
              <a:t>Grenada</a:t>
            </a:r>
            <a:r>
              <a:rPr lang="en-US" b="0" dirty="0" smtClean="0"/>
              <a:t> stand out as most affected by short lead </a:t>
            </a:r>
            <a:r>
              <a:rPr lang="en-US" b="0" dirty="0"/>
              <a:t>times based on number of </a:t>
            </a:r>
            <a:r>
              <a:rPr lang="en-US" b="0" dirty="0" smtClean="0"/>
              <a:t>storms (i.e. weighted storm lead times &lt;0.5)</a:t>
            </a:r>
          </a:p>
          <a:p>
            <a:pPr marL="228600" indent="-228600">
              <a:spcBef>
                <a:spcPts val="600"/>
              </a:spcBef>
              <a:spcAft>
                <a:spcPts val="6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b="0" dirty="0" smtClean="0"/>
              <a:t>Bahamas, Cuba, Dominica, St. Vincent &amp; the Grenadines also face relatively short lead times</a:t>
            </a:r>
          </a:p>
        </p:txBody>
      </p:sp>
      <p:sp>
        <p:nvSpPr>
          <p:cNvPr id="228" name="Content Placeholder 2">
            <a:hlinkClick r:id="rId11" action="ppaction://hlinksldjump" highlightClick="1"/>
          </p:cNvPr>
          <p:cNvSpPr txBox="1">
            <a:spLocks/>
          </p:cNvSpPr>
          <p:nvPr/>
        </p:nvSpPr>
        <p:spPr>
          <a:xfrm>
            <a:off x="10022268" y="6325815"/>
            <a:ext cx="2053618" cy="38996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  <a:buNone/>
            </a:pPr>
            <a:r>
              <a:rPr lang="en-US" i="1" dirty="0" smtClean="0">
                <a:solidFill>
                  <a:schemeClr val="accent1"/>
                </a:solidFill>
                <a:hlinkClick r:id="rId11" action="ppaction://hlinksldjump"/>
              </a:rPr>
              <a:t>Return to Main Slide</a:t>
            </a:r>
            <a:endParaRPr lang="en-US" i="1" dirty="0">
              <a:solidFill>
                <a:schemeClr val="accent1"/>
              </a:solidFill>
            </a:endParaRPr>
          </a:p>
        </p:txBody>
      </p:sp>
      <p:sp>
        <p:nvSpPr>
          <p:cNvPr id="230" name="Content Placeholder 2"/>
          <p:cNvSpPr txBox="1">
            <a:spLocks/>
          </p:cNvSpPr>
          <p:nvPr/>
        </p:nvSpPr>
        <p:spPr>
          <a:xfrm>
            <a:off x="343824" y="6566308"/>
            <a:ext cx="8933543" cy="29894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E48312"/>
              </a:buClr>
            </a:pPr>
            <a:r>
              <a:rPr lang="en-US" sz="900" b="0" dirty="0" smtClean="0">
                <a:solidFill>
                  <a:prstClr val="black"/>
                </a:solidFill>
              </a:rPr>
              <a:t>EGU 2020: Denyse S. Dookie | </a:t>
            </a:r>
            <a:r>
              <a:rPr lang="en-US" sz="900" b="0" dirty="0" smtClean="0"/>
              <a:t>More </a:t>
            </a:r>
            <a:r>
              <a:rPr lang="en-US" sz="900" b="0" dirty="0"/>
              <a:t>than a Feeling: Using Climate Information to Understand and </a:t>
            </a:r>
            <a:r>
              <a:rPr lang="en-US" sz="900" b="0" dirty="0" smtClean="0"/>
              <a:t>Communicate </a:t>
            </a:r>
            <a:r>
              <a:rPr lang="en-US" sz="900" b="0" dirty="0"/>
              <a:t>Storm Risk in Caribbean Small </a:t>
            </a:r>
            <a:r>
              <a:rPr lang="en-US" sz="900" b="0" dirty="0" smtClean="0"/>
              <a:t>Islands</a:t>
            </a:r>
            <a:endParaRPr lang="en-US" sz="900" b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541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mmunicating Disaster Risk in the Caribbean</a:t>
            </a:r>
            <a:endParaRPr lang="en-US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764633566"/>
              </p:ext>
            </p:extLst>
          </p:nvPr>
        </p:nvGraphicFramePr>
        <p:xfrm>
          <a:off x="3302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Content Placeholder 2"/>
          <p:cNvSpPr txBox="1">
            <a:spLocks/>
          </p:cNvSpPr>
          <p:nvPr/>
        </p:nvSpPr>
        <p:spPr>
          <a:xfrm>
            <a:off x="8592671" y="728663"/>
            <a:ext cx="3322046" cy="559715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1400" b="0" dirty="0" smtClean="0"/>
              <a:t>Participants at </a:t>
            </a:r>
            <a:r>
              <a:rPr lang="en-US" sz="1400" dirty="0" smtClean="0"/>
              <a:t>2016 </a:t>
            </a:r>
            <a:r>
              <a:rPr lang="en-US" sz="1400" dirty="0"/>
              <a:t>Wet Season </a:t>
            </a:r>
            <a:r>
              <a:rPr lang="en-US" sz="1400" dirty="0" smtClean="0"/>
              <a:t>Caribbean Climate Outlook Forum </a:t>
            </a:r>
            <a:r>
              <a:rPr lang="en-US" sz="1400" b="0" dirty="0" smtClean="0"/>
              <a:t>(</a:t>
            </a:r>
            <a:r>
              <a:rPr lang="en-US" sz="1400" b="0" dirty="0" err="1" smtClean="0"/>
              <a:t>CariCOF</a:t>
            </a:r>
            <a:r>
              <a:rPr lang="en-US" sz="1400" b="0" dirty="0" smtClean="0"/>
              <a:t>) surveyed on regional use of climate information and communication of disaster risk</a:t>
            </a:r>
          </a:p>
          <a:p>
            <a:pPr marL="409575" lvl="2" indent="-2286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</a:pPr>
            <a:r>
              <a:rPr lang="en-US" sz="1400" dirty="0" smtClean="0"/>
              <a:t>Participants included reps from </a:t>
            </a:r>
            <a:r>
              <a:rPr lang="en-US" sz="1400" b="0" dirty="0" smtClean="0"/>
              <a:t>Caribbean weather and disaster agencies, and agriculture, tourism, and water sectors </a:t>
            </a:r>
          </a:p>
          <a:p>
            <a:pPr marL="228600" indent="-2286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1400" b="0" dirty="0" smtClean="0"/>
              <a:t>While there are many reasons for challenge of communicating risk, the key resources needed include improved institutional support and better local coordination and networking</a:t>
            </a:r>
          </a:p>
          <a:p>
            <a:pPr marL="228600" indent="-2286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1400" b="0" dirty="0" smtClean="0"/>
              <a:t>Participants also asked if operations were different on weekends, and majority said yes</a:t>
            </a:r>
          </a:p>
          <a:p>
            <a:pPr marL="228600" indent="-22860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  <a:buFont typeface="Wingdings" panose="05000000000000000000" pitchFamily="2" charset="2"/>
              <a:buChar char="§"/>
            </a:pPr>
            <a:r>
              <a:rPr lang="en-US" sz="1400" b="0" dirty="0" smtClean="0"/>
              <a:t>However, given short storm lead times, reduced </a:t>
            </a:r>
            <a:r>
              <a:rPr lang="en-US" sz="1400" b="0" dirty="0"/>
              <a:t>awareness on weekends </a:t>
            </a:r>
            <a:r>
              <a:rPr lang="en-US" sz="1400" b="0" dirty="0" smtClean="0"/>
              <a:t>may threaten </a:t>
            </a:r>
            <a:r>
              <a:rPr lang="en-US" sz="1400" b="0" dirty="0"/>
              <a:t>quick </a:t>
            </a:r>
            <a:r>
              <a:rPr lang="en-US" sz="1400" b="0" dirty="0" smtClean="0"/>
              <a:t>action by local agencies</a:t>
            </a:r>
            <a:endParaRPr lang="en-US" sz="1400" b="0" dirty="0"/>
          </a:p>
        </p:txBody>
      </p:sp>
      <p:sp>
        <p:nvSpPr>
          <p:cNvPr id="7" name="Content Placeholder 2">
            <a:hlinkClick r:id="rId7" action="ppaction://hlinksldjump" highlightClick="1"/>
          </p:cNvPr>
          <p:cNvSpPr txBox="1">
            <a:spLocks/>
          </p:cNvSpPr>
          <p:nvPr/>
        </p:nvSpPr>
        <p:spPr>
          <a:xfrm>
            <a:off x="10022268" y="6325815"/>
            <a:ext cx="2053618" cy="38996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indent="0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>
                <a:srgbClr val="E48312"/>
              </a:buClr>
              <a:buNone/>
            </a:pPr>
            <a:r>
              <a:rPr lang="en-US" i="1" dirty="0" smtClean="0">
                <a:solidFill>
                  <a:schemeClr val="accent1"/>
                </a:solidFill>
                <a:hlinkClick r:id="rId7" action="ppaction://hlinksldjump"/>
              </a:rPr>
              <a:t>Return to Main Slide</a:t>
            </a:r>
            <a:endParaRPr lang="en-US" i="1" dirty="0">
              <a:solidFill>
                <a:schemeClr val="accent1"/>
              </a:solidFill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343824" y="6566308"/>
            <a:ext cx="8933543" cy="29894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2pPr>
            <a:lvl3pPr marL="1809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3pPr>
            <a:lvl4pPr marL="355600" indent="-17462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4pPr>
            <a:lvl5pPr marL="536575" indent="-180975" algn="l" defTabSz="914400" rtl="0" eaLnBrk="1" latinLnBrk="0" hangingPunct="1">
              <a:spcBef>
                <a:spcPts val="8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Clr>
                <a:srgbClr val="E48312"/>
              </a:buClr>
            </a:pPr>
            <a:r>
              <a:rPr lang="en-US" sz="900" b="0" dirty="0" smtClean="0">
                <a:solidFill>
                  <a:prstClr val="black"/>
                </a:solidFill>
              </a:rPr>
              <a:t>EGU 2020: Denyse S. Dookie | </a:t>
            </a:r>
            <a:r>
              <a:rPr lang="en-US" sz="900" b="0" dirty="0" smtClean="0"/>
              <a:t>More </a:t>
            </a:r>
            <a:r>
              <a:rPr lang="en-US" sz="900" b="0" dirty="0"/>
              <a:t>than a Feeling: Using Climate Information to Understand and </a:t>
            </a:r>
            <a:r>
              <a:rPr lang="en-US" sz="900" b="0" dirty="0" smtClean="0"/>
              <a:t>Communicate </a:t>
            </a:r>
            <a:r>
              <a:rPr lang="en-US" sz="900" b="0" dirty="0"/>
              <a:t>Storm Risk in Caribbean Small </a:t>
            </a:r>
            <a:r>
              <a:rPr lang="en-US" sz="900" b="0" dirty="0" smtClean="0"/>
              <a:t>Islands</a:t>
            </a:r>
            <a:endParaRPr lang="en-US" sz="900" b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7974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k00Cy2CF0idXbUrXVQZ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HJVyAmCKkCfTducWFOj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ck00Cy2CF0idXbUrXVQZ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HJVyAmCKkCfTducWFOj.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zhln2XxDkCFLZyMmNDn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TUskx_3s0yFOfSIKwcA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Wy1rWRUG18JVaNlIt0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KcchveXTEucDZFYeaRO5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Larissa Design">
  <a:themeElements>
    <a:clrScheme name="Larissa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2A79FF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74747"/>
      </a:accent6>
      <a:hlink>
        <a:srgbClr val="C00000"/>
      </a:hlink>
      <a:folHlink>
        <a:srgbClr val="FFC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wrap="square" lIns="0" tIns="0" rIns="0" bIns="0" rtlCol="0" anchor="ctr">
        <a:spAutoFit/>
      </a:bodyPr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01</Words>
  <Application>Microsoft Office PowerPoint</Application>
  <PresentationFormat>Widescreen</PresentationFormat>
  <Paragraphs>132</Paragraphs>
  <Slides>7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Calibri Light</vt:lpstr>
      <vt:lpstr>Wingdings</vt:lpstr>
      <vt:lpstr>Office Theme</vt:lpstr>
      <vt:lpstr>1_Larissa Design</vt:lpstr>
      <vt:lpstr>More than a Feeling: Using Climate Information to Understand and  Communicate Storm Risk in Caribbean Small Islands</vt:lpstr>
      <vt:lpstr>Disasters in the Caribbean (28 countries &amp; territories), 1990-2020 [EM-DAT]</vt:lpstr>
      <vt:lpstr>PowerPoint Presentation</vt:lpstr>
      <vt:lpstr>PowerPoint Presentation</vt:lpstr>
      <vt:lpstr>Summary Statistics of Storm Approach Lead Times, by Country (incl. 0-hr lead)</vt:lpstr>
      <vt:lpstr>Storm Lead Times in the Caribbean, weighted by number of storms</vt:lpstr>
      <vt:lpstr>Communicating Disaster Risk in the Caribbea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4-30T22:10:30Z</dcterms:created>
  <dcterms:modified xsi:type="dcterms:W3CDTF">2020-05-04T07:08:26Z</dcterms:modified>
</cp:coreProperties>
</file>